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77" r:id="rId5"/>
  </p:sldMasterIdLst>
  <p:notesMasterIdLst>
    <p:notesMasterId r:id="rId12"/>
  </p:notesMasterIdLst>
  <p:sldIdLst>
    <p:sldId id="2134804829" r:id="rId6"/>
    <p:sldId id="2134804863" r:id="rId7"/>
    <p:sldId id="2134804864" r:id="rId8"/>
    <p:sldId id="2134804865" r:id="rId9"/>
    <p:sldId id="2134804871" r:id="rId10"/>
    <p:sldId id="2134804869" r:id="rId11"/>
  </p:sldIdLst>
  <p:sldSz cx="12192000" cy="6858000"/>
  <p:notesSz cx="6858000" cy="9144000"/>
  <p:custDataLst>
    <p:tags r:id="rId1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2529A7C0-C1F5-4BC9-9132-D35CE55B7D13}">
          <p14:sldIdLst>
            <p14:sldId id="2134804829"/>
            <p14:sldId id="2134804863"/>
            <p14:sldId id="2134804864"/>
            <p14:sldId id="2134804865"/>
            <p14:sldId id="2134804871"/>
            <p14:sldId id="21348048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93A032-2B1A-0691-6314-23CA3DD6EE78}" name="Chiara Stanghini" initials="CS" userId="S::chiara.stanghini@edera.city::b3c2a22a-9f90-4ed0-8b5b-3a4aef1b1b2f" providerId="AD"/>
  <p188:author id="{55AD5142-8970-17D4-F613-41064719CCB6}" name="Paul Dufraisse" initials="PD" userId="S::pdufraisse@greenflex.com::bb6ad6ca-06a8-4d41-867c-54d23b5849c3" providerId="AD"/>
  <p188:author id="{A9265758-CC8F-651D-130D-9EA5AE9345D7}" name="Pierre-Antoine Duffrene" initials="PD" userId="S::paduffrene@greenflex.com::da3f6481-4207-4cde-9346-3340d55b22de" providerId="AD"/>
  <p188:author id="{BC33AB5C-A125-67BF-8640-60CC60418078}" name="Chiara Stanghini" initials="CS" userId="S::chiara.stanghini_edera.city#ext#@greenflexgroup.onmicrosoft.com::6475939a-9cca-4880-8d1d-bd933536502c" providerId="AD"/>
  <p188:author id="{AC0C757E-91FE-ACED-6CB2-05D361241FCC}" name="Marine Le Bars" initials="MLB" userId="S::mlebars@greenflex.com::ebdc8b12-7b38-4fcc-8f5c-8fe066e1b13b" providerId="AD"/>
  <p188:author id="{B3F7707F-550E-54DE-7E94-95E438D172D0}" name="Laurine Mourichou" initials="LM" userId="S::lmourichou@greenflex.com::749a3c53-53a6-4bd2-982f-a087de6b7520" providerId="AD"/>
  <p188:author id="{BBDD5FC5-24DE-8F9A-C866-3F3630EEF2D9}" name="Remi SOULISSE" initials="RS" userId="S::rsoulisse@greenflex.com::556de9a5-59e2-46b7-a01d-b9c118fccc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B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872" autoAdjust="0"/>
  </p:normalViewPr>
  <p:slideViewPr>
    <p:cSldViewPr snapToGrid="0">
      <p:cViewPr varScale="1">
        <p:scale>
          <a:sx n="86" d="100"/>
          <a:sy n="86" d="100"/>
        </p:scale>
        <p:origin x="14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mi SOULISSE" userId="S::rsoulisse@greenflex.com::556de9a5-59e2-46b7-a01d-b9c118fccc3c" providerId="AD" clId="Web-{AD913B6E-247F-D849-10D9-03A1929F65DF}"/>
    <pc:docChg chg="modSld sldOrd addSection modSection">
      <pc:chgData name="Remi SOULISSE" userId="S::rsoulisse@greenflex.com::556de9a5-59e2-46b7-a01d-b9c118fccc3c" providerId="AD" clId="Web-{AD913B6E-247F-D849-10D9-03A1929F65DF}" dt="2023-10-24T16:07:55.512" v="5" actId="20577"/>
      <pc:docMkLst>
        <pc:docMk/>
      </pc:docMkLst>
      <pc:sldChg chg="ord">
        <pc:chgData name="Remi SOULISSE" userId="S::rsoulisse@greenflex.com::556de9a5-59e2-46b7-a01d-b9c118fccc3c" providerId="AD" clId="Web-{AD913B6E-247F-D849-10D9-03A1929F65DF}" dt="2023-10-24T16:07:42.512" v="3"/>
        <pc:sldMkLst>
          <pc:docMk/>
          <pc:sldMk cId="1171383821" sldId="2134804867"/>
        </pc:sldMkLst>
      </pc:sldChg>
      <pc:sldChg chg="ord">
        <pc:chgData name="Remi SOULISSE" userId="S::rsoulisse@greenflex.com::556de9a5-59e2-46b7-a01d-b9c118fccc3c" providerId="AD" clId="Web-{AD913B6E-247F-D849-10D9-03A1929F65DF}" dt="2023-10-24T16:07:42.512" v="2"/>
        <pc:sldMkLst>
          <pc:docMk/>
          <pc:sldMk cId="4094083513" sldId="2134804870"/>
        </pc:sldMkLst>
      </pc:sldChg>
      <pc:sldChg chg="modSp">
        <pc:chgData name="Remi SOULISSE" userId="S::rsoulisse@greenflex.com::556de9a5-59e2-46b7-a01d-b9c118fccc3c" providerId="AD" clId="Web-{AD913B6E-247F-D849-10D9-03A1929F65DF}" dt="2023-10-24T16:07:55.512" v="5" actId="20577"/>
        <pc:sldMkLst>
          <pc:docMk/>
          <pc:sldMk cId="3109042078" sldId="2134804871"/>
        </pc:sldMkLst>
      </pc:sldChg>
    </pc:docChg>
  </pc:docChgLst>
  <pc:docChgLst>
    <pc:chgData name="Laurine Mourichou" userId="749a3c53-53a6-4bd2-982f-a087de6b7520" providerId="ADAL" clId="{1AA07E90-9B54-43AE-B175-8EAAB6C03E80}"/>
    <pc:docChg chg="undo redo custSel delSld modSld">
      <pc:chgData name="Laurine Mourichou" userId="749a3c53-53a6-4bd2-982f-a087de6b7520" providerId="ADAL" clId="{1AA07E90-9B54-43AE-B175-8EAAB6C03E80}" dt="2023-03-27T14:29:50.056" v="1342" actId="14100"/>
      <pc:docMkLst>
        <pc:docMk/>
      </pc:docMkLst>
      <pc:sldChg chg="modSp mod modCm">
        <pc:chgData name="Laurine Mourichou" userId="749a3c53-53a6-4bd2-982f-a087de6b7520" providerId="ADAL" clId="{1AA07E90-9B54-43AE-B175-8EAAB6C03E80}" dt="2023-03-27T14:10:40.605" v="907" actId="20577"/>
        <pc:sldMkLst>
          <pc:docMk/>
          <pc:sldMk cId="1832878607" sldId="861"/>
        </pc:sldMkLst>
        <pc:extLst>
          <p:ext xmlns:p="http://schemas.openxmlformats.org/presentationml/2006/main" uri="{D6D511B9-2390-475A-947B-AFAB55BFBCF1}">
            <pc226:cmChg xmlns:pc226="http://schemas.microsoft.com/office/powerpoint/2022/06/main/command" chg="mod">
              <pc226:chgData name="Laurine Mourichou" userId="749a3c53-53a6-4bd2-982f-a087de6b7520" providerId="ADAL" clId="{1AA07E90-9B54-43AE-B175-8EAAB6C03E80}" dt="2023-03-27T14:09:45.534" v="879"/>
              <pc2:cmMkLst xmlns:pc2="http://schemas.microsoft.com/office/powerpoint/2019/9/main/command">
                <pc:docMk/>
                <pc:sldMk cId="1832878607" sldId="861"/>
                <pc2:cmMk id="{6AB5F172-C51A-41BE-A651-08233021CE73}"/>
              </pc2:cmMkLst>
            </pc226:cmChg>
          </p:ext>
        </pc:extLst>
      </pc:sldChg>
      <pc:sldChg chg="modSp mod">
        <pc:chgData name="Laurine Mourichou" userId="749a3c53-53a6-4bd2-982f-a087de6b7520" providerId="ADAL" clId="{1AA07E90-9B54-43AE-B175-8EAAB6C03E80}" dt="2023-03-27T14:15:09.805" v="1214"/>
        <pc:sldMkLst>
          <pc:docMk/>
          <pc:sldMk cId="3445552651" sldId="4194"/>
        </pc:sldMkLst>
      </pc:sldChg>
      <pc:sldChg chg="modSp mod">
        <pc:chgData name="Laurine Mourichou" userId="749a3c53-53a6-4bd2-982f-a087de6b7520" providerId="ADAL" clId="{1AA07E90-9B54-43AE-B175-8EAAB6C03E80}" dt="2023-03-27T13:39:18.243" v="242"/>
        <pc:sldMkLst>
          <pc:docMk/>
          <pc:sldMk cId="3787937814" sldId="5543"/>
        </pc:sldMkLst>
      </pc:sldChg>
      <pc:sldChg chg="modSp mod">
        <pc:chgData name="Laurine Mourichou" userId="749a3c53-53a6-4bd2-982f-a087de6b7520" providerId="ADAL" clId="{1AA07E90-9B54-43AE-B175-8EAAB6C03E80}" dt="2023-03-27T13:21:48.530" v="56" actId="20577"/>
        <pc:sldMkLst>
          <pc:docMk/>
          <pc:sldMk cId="3716569532" sldId="2134804829"/>
        </pc:sldMkLst>
      </pc:sldChg>
      <pc:sldChg chg="modSp mod addCm">
        <pc:chgData name="Laurine Mourichou" userId="749a3c53-53a6-4bd2-982f-a087de6b7520" providerId="ADAL" clId="{1AA07E90-9B54-43AE-B175-8EAAB6C03E80}" dt="2023-03-27T14:11:27.732" v="912"/>
        <pc:sldMkLst>
          <pc:docMk/>
          <pc:sldMk cId="1516341013" sldId="2134804830"/>
        </pc:sldMkLst>
        <pc:extLst>
          <p:ext xmlns:p="http://schemas.openxmlformats.org/presentationml/2006/main" uri="{D6D511B9-2390-475A-947B-AFAB55BFBCF1}">
            <pc226:cmChg xmlns:pc226="http://schemas.microsoft.com/office/powerpoint/2022/06/main/command" chg="add">
              <pc226:chgData name="Laurine Mourichou" userId="749a3c53-53a6-4bd2-982f-a087de6b7520" providerId="ADAL" clId="{1AA07E90-9B54-43AE-B175-8EAAB6C03E80}" dt="2023-03-27T14:11:17.181" v="911"/>
              <pc2:cmMkLst xmlns:pc2="http://schemas.microsoft.com/office/powerpoint/2019/9/main/command">
                <pc:docMk/>
                <pc:sldMk cId="1516341013" sldId="2134804830"/>
                <pc2:cmMk id="{C616D8B7-7979-4A00-ACEF-1525E7BC9F34}"/>
              </pc2:cmMkLst>
            </pc226:cmChg>
          </p:ext>
        </pc:extLst>
      </pc:sldChg>
      <pc:sldChg chg="modSp mod">
        <pc:chgData name="Laurine Mourichou" userId="749a3c53-53a6-4bd2-982f-a087de6b7520" providerId="ADAL" clId="{1AA07E90-9B54-43AE-B175-8EAAB6C03E80}" dt="2023-03-27T13:57:26.747" v="695"/>
        <pc:sldMkLst>
          <pc:docMk/>
          <pc:sldMk cId="1891540165" sldId="2134804832"/>
        </pc:sldMkLst>
      </pc:sldChg>
      <pc:sldChg chg="modSp mod">
        <pc:chgData name="Laurine Mourichou" userId="749a3c53-53a6-4bd2-982f-a087de6b7520" providerId="ADAL" clId="{1AA07E90-9B54-43AE-B175-8EAAB6C03E80}" dt="2023-03-27T13:22:17.903" v="59" actId="20577"/>
        <pc:sldMkLst>
          <pc:docMk/>
          <pc:sldMk cId="2020903331" sldId="2134804848"/>
        </pc:sldMkLst>
      </pc:sldChg>
      <pc:sldChg chg="modSp mod addCm">
        <pc:chgData name="Laurine Mourichou" userId="749a3c53-53a6-4bd2-982f-a087de6b7520" providerId="ADAL" clId="{1AA07E90-9B54-43AE-B175-8EAAB6C03E80}" dt="2023-03-27T14:20:25.121" v="1290"/>
        <pc:sldMkLst>
          <pc:docMk/>
          <pc:sldMk cId="3706459772" sldId="2134804859"/>
        </pc:sldMkLst>
        <pc:extLst>
          <p:ext xmlns:p="http://schemas.openxmlformats.org/presentationml/2006/main" uri="{D6D511B9-2390-475A-947B-AFAB55BFBCF1}">
            <pc226:cmChg xmlns:pc226="http://schemas.microsoft.com/office/powerpoint/2022/06/main/command" chg="add">
              <pc226:chgData name="Laurine Mourichou" userId="749a3c53-53a6-4bd2-982f-a087de6b7520" providerId="ADAL" clId="{1AA07E90-9B54-43AE-B175-8EAAB6C03E80}" dt="2023-03-27T14:20:25.121" v="1290"/>
              <pc2:cmMkLst xmlns:pc2="http://schemas.microsoft.com/office/powerpoint/2019/9/main/command">
                <pc:docMk/>
                <pc:sldMk cId="3706459772" sldId="2134804859"/>
                <pc2:cmMk id="{58A209A5-6A1F-4920-8945-AAF6981487EC}"/>
              </pc2:cmMkLst>
            </pc226:cmChg>
          </p:ext>
        </pc:extLst>
      </pc:sldChg>
      <pc:sldChg chg="modSp mod addCm">
        <pc:chgData name="Laurine Mourichou" userId="749a3c53-53a6-4bd2-982f-a087de6b7520" providerId="ADAL" clId="{1AA07E90-9B54-43AE-B175-8EAAB6C03E80}" dt="2023-03-27T14:29:50.056" v="1342" actId="14100"/>
        <pc:sldMkLst>
          <pc:docMk/>
          <pc:sldMk cId="308154884" sldId="2134804863"/>
        </pc:sldMkLst>
        <pc:extLst>
          <p:ext xmlns:p="http://schemas.openxmlformats.org/presentationml/2006/main" uri="{D6D511B9-2390-475A-947B-AFAB55BFBCF1}">
            <pc226:cmChg xmlns:pc226="http://schemas.microsoft.com/office/powerpoint/2022/06/main/command" chg="add">
              <pc226:chgData name="Laurine Mourichou" userId="749a3c53-53a6-4bd2-982f-a087de6b7520" providerId="ADAL" clId="{1AA07E90-9B54-43AE-B175-8EAAB6C03E80}" dt="2023-03-27T13:28:52.656" v="122"/>
              <pc2:cmMkLst xmlns:pc2="http://schemas.microsoft.com/office/powerpoint/2019/9/main/command">
                <pc:docMk/>
                <pc:sldMk cId="308154884" sldId="2134804863"/>
                <pc2:cmMk id="{E4461645-8B20-4D71-BDE7-440D64BD3777}"/>
              </pc2:cmMkLst>
            </pc226:cmChg>
          </p:ext>
        </pc:extLst>
      </pc:sldChg>
      <pc:sldChg chg="modSp mod modCm">
        <pc:chgData name="Laurine Mourichou" userId="749a3c53-53a6-4bd2-982f-a087de6b7520" providerId="ADAL" clId="{1AA07E90-9B54-43AE-B175-8EAAB6C03E80}" dt="2023-03-27T13:38:59.036" v="241" actId="20577"/>
        <pc:sldMkLst>
          <pc:docMk/>
          <pc:sldMk cId="1825751004" sldId="2134804864"/>
        </pc:sldMkLst>
        <pc:extLst>
          <p:ext xmlns:p="http://schemas.openxmlformats.org/presentationml/2006/main" uri="{D6D511B9-2390-475A-947B-AFAB55BFBCF1}">
            <pc226:cmChg xmlns:pc226="http://schemas.microsoft.com/office/powerpoint/2022/06/main/command" chg="mod">
              <pc226:chgData name="Laurine Mourichou" userId="749a3c53-53a6-4bd2-982f-a087de6b7520" providerId="ADAL" clId="{1AA07E90-9B54-43AE-B175-8EAAB6C03E80}" dt="2023-03-27T13:38:30.772" v="202" actId="20577"/>
              <pc2:cmMkLst xmlns:pc2="http://schemas.microsoft.com/office/powerpoint/2019/9/main/command">
                <pc:docMk/>
                <pc:sldMk cId="1825751004" sldId="2134804864"/>
                <pc2:cmMk id="{3B7AE38E-2320-469D-A1CF-AA6CF956361B}"/>
              </pc2:cmMkLst>
            </pc226:cmChg>
          </p:ext>
        </pc:extLst>
      </pc:sldChg>
      <pc:sldChg chg="modSp mod">
        <pc:chgData name="Laurine Mourichou" userId="749a3c53-53a6-4bd2-982f-a087de6b7520" providerId="ADAL" clId="{1AA07E90-9B54-43AE-B175-8EAAB6C03E80}" dt="2023-03-27T13:45:43.875" v="441" actId="20577"/>
        <pc:sldMkLst>
          <pc:docMk/>
          <pc:sldMk cId="3324387839" sldId="2134804865"/>
        </pc:sldMkLst>
      </pc:sldChg>
      <pc:sldChg chg="modSp mod modCm">
        <pc:chgData name="Laurine Mourichou" userId="749a3c53-53a6-4bd2-982f-a087de6b7520" providerId="ADAL" clId="{1AA07E90-9B54-43AE-B175-8EAAB6C03E80}" dt="2023-03-27T13:53:01.530" v="604"/>
        <pc:sldMkLst>
          <pc:docMk/>
          <pc:sldMk cId="3581035853" sldId="2134804866"/>
        </pc:sldMkLst>
        <pc:extLst>
          <p:ext xmlns:p="http://schemas.openxmlformats.org/presentationml/2006/main" uri="{D6D511B9-2390-475A-947B-AFAB55BFBCF1}">
            <pc226:cmChg xmlns:pc226="http://schemas.microsoft.com/office/powerpoint/2022/06/main/command" chg="mod">
              <pc226:chgData name="Laurine Mourichou" userId="749a3c53-53a6-4bd2-982f-a087de6b7520" providerId="ADAL" clId="{1AA07E90-9B54-43AE-B175-8EAAB6C03E80}" dt="2023-03-27T13:53:01.530" v="604"/>
              <pc2:cmMkLst xmlns:pc2="http://schemas.microsoft.com/office/powerpoint/2019/9/main/command">
                <pc:docMk/>
                <pc:sldMk cId="3581035853" sldId="2134804866"/>
                <pc2:cmMk id="{FF6D4E48-7CDD-4E70-A1AC-5CEE8C76463D}"/>
              </pc2:cmMkLst>
            </pc226:cmChg>
          </p:ext>
        </pc:extLst>
      </pc:sldChg>
      <pc:sldChg chg="del">
        <pc:chgData name="Laurine Mourichou" userId="749a3c53-53a6-4bd2-982f-a087de6b7520" providerId="ADAL" clId="{1AA07E90-9B54-43AE-B175-8EAAB6C03E80}" dt="2023-03-27T13:39:31.028" v="243" actId="47"/>
        <pc:sldMkLst>
          <pc:docMk/>
          <pc:sldMk cId="3883418748" sldId="2134804868"/>
        </pc:sldMkLst>
      </pc:sldChg>
      <pc:sldChg chg="modSp mod addCm">
        <pc:chgData name="Laurine Mourichou" userId="749a3c53-53a6-4bd2-982f-a087de6b7520" providerId="ADAL" clId="{1AA07E90-9B54-43AE-B175-8EAAB6C03E80}" dt="2023-03-27T14:02:20.104" v="770"/>
        <pc:sldMkLst>
          <pc:docMk/>
          <pc:sldMk cId="1466948822" sldId="2134804869"/>
        </pc:sldMkLst>
        <pc:extLst>
          <p:ext xmlns:p="http://schemas.openxmlformats.org/presentationml/2006/main" uri="{D6D511B9-2390-475A-947B-AFAB55BFBCF1}">
            <pc226:cmChg xmlns:pc226="http://schemas.microsoft.com/office/powerpoint/2022/06/main/command" chg="add">
              <pc226:chgData name="Laurine Mourichou" userId="749a3c53-53a6-4bd2-982f-a087de6b7520" providerId="ADAL" clId="{1AA07E90-9B54-43AE-B175-8EAAB6C03E80}" dt="2023-03-27T14:01:43.970" v="768"/>
              <pc2:cmMkLst xmlns:pc2="http://schemas.microsoft.com/office/powerpoint/2019/9/main/command">
                <pc:docMk/>
                <pc:sldMk cId="1466948822" sldId="2134804869"/>
                <pc2:cmMk id="{9C2CC336-40E7-456F-81BA-5B7E1FEE6110}"/>
              </pc2:cmMkLst>
            </pc226:cmChg>
          </p:ext>
        </pc:extLst>
      </pc:sldChg>
      <pc:sldChg chg="delSp modSp mod addCm">
        <pc:chgData name="Laurine Mourichou" userId="749a3c53-53a6-4bd2-982f-a087de6b7520" providerId="ADAL" clId="{1AA07E90-9B54-43AE-B175-8EAAB6C03E80}" dt="2023-03-27T14:07:44.799" v="862"/>
        <pc:sldMkLst>
          <pc:docMk/>
          <pc:sldMk cId="705812522" sldId="2134804870"/>
        </pc:sldMkLst>
        <pc:extLst>
          <p:ext xmlns:p="http://schemas.openxmlformats.org/presentationml/2006/main" uri="{D6D511B9-2390-475A-947B-AFAB55BFBCF1}">
            <pc226:cmChg xmlns:pc226="http://schemas.microsoft.com/office/powerpoint/2022/06/main/command" chg="add">
              <pc226:chgData name="Laurine Mourichou" userId="749a3c53-53a6-4bd2-982f-a087de6b7520" providerId="ADAL" clId="{1AA07E90-9B54-43AE-B175-8EAAB6C03E80}" dt="2023-03-27T14:07:44.799" v="862"/>
              <pc2:cmMkLst xmlns:pc2="http://schemas.microsoft.com/office/powerpoint/2019/9/main/command">
                <pc:docMk/>
                <pc:sldMk cId="705812522" sldId="2134804870"/>
                <pc2:cmMk id="{0D5FCD2D-4F2B-4430-A722-7351EB46271A}"/>
              </pc2:cmMkLst>
            </pc226:cmChg>
          </p:ext>
        </pc:extLst>
      </pc:sldChg>
      <pc:sldChg chg="modSp mod">
        <pc:chgData name="Laurine Mourichou" userId="749a3c53-53a6-4bd2-982f-a087de6b7520" providerId="ADAL" clId="{1AA07E90-9B54-43AE-B175-8EAAB6C03E80}" dt="2023-03-27T14:09:36.427" v="878"/>
        <pc:sldMkLst>
          <pc:docMk/>
          <pc:sldMk cId="1896888031" sldId="2134804871"/>
        </pc:sldMkLst>
      </pc:sldChg>
      <pc:sldChg chg="modSp mod">
        <pc:chgData name="Laurine Mourichou" userId="749a3c53-53a6-4bd2-982f-a087de6b7520" providerId="ADAL" clId="{1AA07E90-9B54-43AE-B175-8EAAB6C03E80}" dt="2023-03-27T13:39:47.480" v="277" actId="20577"/>
        <pc:sldMkLst>
          <pc:docMk/>
          <pc:sldMk cId="4154046235" sldId="2134804872"/>
        </pc:sldMkLst>
      </pc:sldChg>
      <pc:sldChg chg="modSp mod">
        <pc:chgData name="Laurine Mourichou" userId="749a3c53-53a6-4bd2-982f-a087de6b7520" providerId="ADAL" clId="{1AA07E90-9B54-43AE-B175-8EAAB6C03E80}" dt="2023-03-27T14:18:21.950" v="1258" actId="20577"/>
        <pc:sldMkLst>
          <pc:docMk/>
          <pc:sldMk cId="3285692956" sldId="2134804873"/>
        </pc:sldMkLst>
      </pc:sldChg>
      <pc:sldChg chg="modSp mod">
        <pc:chgData name="Laurine Mourichou" userId="749a3c53-53a6-4bd2-982f-a087de6b7520" providerId="ADAL" clId="{1AA07E90-9B54-43AE-B175-8EAAB6C03E80}" dt="2023-03-27T14:29:03.866" v="1336" actId="113"/>
        <pc:sldMkLst>
          <pc:docMk/>
          <pc:sldMk cId="203723799" sldId="2134804875"/>
        </pc:sldMkLst>
      </pc:sldChg>
    </pc:docChg>
  </pc:docChgLst>
  <pc:docChgLst>
    <pc:chgData name="Remi SOULISSE" userId="556de9a5-59e2-46b7-a01d-b9c118fccc3c" providerId="ADAL" clId="{A7E30C1F-269E-46C5-902C-0E45947F7622}"/>
    <pc:docChg chg="undo custSel modSld">
      <pc:chgData name="Remi SOULISSE" userId="556de9a5-59e2-46b7-a01d-b9c118fccc3c" providerId="ADAL" clId="{A7E30C1F-269E-46C5-902C-0E45947F7622}" dt="2023-04-07T07:05:51.057" v="218" actId="20577"/>
      <pc:docMkLst>
        <pc:docMk/>
      </pc:docMkLst>
      <pc:sldChg chg="modSp mod">
        <pc:chgData name="Remi SOULISSE" userId="556de9a5-59e2-46b7-a01d-b9c118fccc3c" providerId="ADAL" clId="{A7E30C1F-269E-46C5-902C-0E45947F7622}" dt="2023-04-07T07:05:51.057" v="218" actId="20577"/>
        <pc:sldMkLst>
          <pc:docMk/>
          <pc:sldMk cId="3716569532" sldId="2134804829"/>
        </pc:sldMkLst>
      </pc:sldChg>
      <pc:sldChg chg="modSp mod">
        <pc:chgData name="Remi SOULISSE" userId="556de9a5-59e2-46b7-a01d-b9c118fccc3c" providerId="ADAL" clId="{A7E30C1F-269E-46C5-902C-0E45947F7622}" dt="2023-04-06T11:58:19.359" v="55" actId="20577"/>
        <pc:sldMkLst>
          <pc:docMk/>
          <pc:sldMk cId="308154884" sldId="2134804863"/>
        </pc:sldMkLst>
      </pc:sldChg>
      <pc:sldChg chg="addSp delSp modSp mod">
        <pc:chgData name="Remi SOULISSE" userId="556de9a5-59e2-46b7-a01d-b9c118fccc3c" providerId="ADAL" clId="{A7E30C1F-269E-46C5-902C-0E45947F7622}" dt="2023-04-06T12:32:28.711" v="101" actId="1076"/>
        <pc:sldMkLst>
          <pc:docMk/>
          <pc:sldMk cId="1578555756" sldId="2134804864"/>
        </pc:sldMkLst>
      </pc:sldChg>
      <pc:sldChg chg="modSp mod">
        <pc:chgData name="Remi SOULISSE" userId="556de9a5-59e2-46b7-a01d-b9c118fccc3c" providerId="ADAL" clId="{A7E30C1F-269E-46C5-902C-0E45947F7622}" dt="2023-04-06T13:08:28.099" v="179" actId="20577"/>
        <pc:sldMkLst>
          <pc:docMk/>
          <pc:sldMk cId="2579865514" sldId="2134804866"/>
        </pc:sldMkLst>
      </pc:sldChg>
    </pc:docChg>
  </pc:docChgLst>
  <pc:docChgLst>
    <pc:chgData name="Chiara Stanghini" userId="S::chiara.stanghini_edera.city#ext#@greenflexgroup.onmicrosoft.com::6475939a-9cca-4880-8d1d-bd933536502c" providerId="AD" clId="Web-{E0FC94D9-9F08-6130-4B03-1935FAC05687}"/>
    <pc:docChg chg="modSld">
      <pc:chgData name="Chiara Stanghini" userId="S::chiara.stanghini_edera.city#ext#@greenflexgroup.onmicrosoft.com::6475939a-9cca-4880-8d1d-bd933536502c" providerId="AD" clId="Web-{E0FC94D9-9F08-6130-4B03-1935FAC05687}" dt="2023-10-23T08:45:39.362" v="3"/>
      <pc:docMkLst>
        <pc:docMk/>
      </pc:docMkLst>
      <pc:sldChg chg="addSp delSp modSp">
        <pc:chgData name="Chiara Stanghini" userId="S::chiara.stanghini_edera.city#ext#@greenflexgroup.onmicrosoft.com::6475939a-9cca-4880-8d1d-bd933536502c" providerId="AD" clId="Web-{E0FC94D9-9F08-6130-4B03-1935FAC05687}" dt="2023-10-23T08:45:39.362" v="3"/>
        <pc:sldMkLst>
          <pc:docMk/>
          <pc:sldMk cId="1279683278" sldId="2134804869"/>
        </pc:sldMkLst>
      </pc:sldChg>
    </pc:docChg>
  </pc:docChgLst>
  <pc:docChgLst>
    <pc:chgData name="Remi SOULISSE" userId="S::rsoulisse@greenflex.com::556de9a5-59e2-46b7-a01d-b9c118fccc3c" providerId="AD" clId="Web-{28E30ED4-8DCB-5A10-6975-E0054A38E0CC}"/>
    <pc:docChg chg="addSld delSld modSld">
      <pc:chgData name="Remi SOULISSE" userId="S::rsoulisse@greenflex.com::556de9a5-59e2-46b7-a01d-b9c118fccc3c" providerId="AD" clId="Web-{28E30ED4-8DCB-5A10-6975-E0054A38E0CC}" dt="2023-09-26T13:37:42.536" v="141"/>
      <pc:docMkLst>
        <pc:docMk/>
      </pc:docMkLst>
      <pc:sldChg chg="modSp">
        <pc:chgData name="Remi SOULISSE" userId="S::rsoulisse@greenflex.com::556de9a5-59e2-46b7-a01d-b9c118fccc3c" providerId="AD" clId="Web-{28E30ED4-8DCB-5A10-6975-E0054A38E0CC}" dt="2023-09-26T13:37:42.536" v="141"/>
        <pc:sldMkLst>
          <pc:docMk/>
          <pc:sldMk cId="4094083513" sldId="2134804870"/>
        </pc:sldMkLst>
      </pc:sldChg>
      <pc:sldChg chg="add del replId">
        <pc:chgData name="Remi SOULISSE" userId="S::rsoulisse@greenflex.com::556de9a5-59e2-46b7-a01d-b9c118fccc3c" providerId="AD" clId="Web-{28E30ED4-8DCB-5A10-6975-E0054A38E0CC}" dt="2023-09-26T13:26:41.821" v="31"/>
        <pc:sldMkLst>
          <pc:docMk/>
          <pc:sldMk cId="1549472937" sldId="2134804871"/>
        </pc:sldMkLst>
      </pc:sldChg>
    </pc:docChg>
  </pc:docChgLst>
  <pc:docChgLst>
    <pc:chgData name="Remi SOULISSE" userId="556de9a5-59e2-46b7-a01d-b9c118fccc3c" providerId="ADAL" clId="{C488FABF-55ED-4877-81C3-50E14369BE6A}"/>
    <pc:docChg chg="undo redo custSel addSld delSld modSld sldOrd delMainMaster modMainMaster">
      <pc:chgData name="Remi SOULISSE" userId="556de9a5-59e2-46b7-a01d-b9c118fccc3c" providerId="ADAL" clId="{C488FABF-55ED-4877-81C3-50E14369BE6A}" dt="2023-04-05T14:54:37.084" v="372" actId="1076"/>
      <pc:docMkLst>
        <pc:docMk/>
      </pc:docMkLst>
      <pc:sldChg chg="del">
        <pc:chgData name="Remi SOULISSE" userId="556de9a5-59e2-46b7-a01d-b9c118fccc3c" providerId="ADAL" clId="{C488FABF-55ED-4877-81C3-50E14369BE6A}" dt="2023-04-05T14:34:20.257" v="1" actId="47"/>
        <pc:sldMkLst>
          <pc:docMk/>
          <pc:sldMk cId="1832878607" sldId="861"/>
        </pc:sldMkLst>
      </pc:sldChg>
      <pc:sldChg chg="del">
        <pc:chgData name="Remi SOULISSE" userId="556de9a5-59e2-46b7-a01d-b9c118fccc3c" providerId="ADAL" clId="{C488FABF-55ED-4877-81C3-50E14369BE6A}" dt="2023-04-05T14:34:20.257" v="1" actId="47"/>
        <pc:sldMkLst>
          <pc:docMk/>
          <pc:sldMk cId="3445552651" sldId="4194"/>
        </pc:sldMkLst>
      </pc:sldChg>
      <pc:sldChg chg="del">
        <pc:chgData name="Remi SOULISSE" userId="556de9a5-59e2-46b7-a01d-b9c118fccc3c" providerId="ADAL" clId="{C488FABF-55ED-4877-81C3-50E14369BE6A}" dt="2023-04-05T14:34:20.257" v="1" actId="47"/>
        <pc:sldMkLst>
          <pc:docMk/>
          <pc:sldMk cId="3787937814" sldId="5543"/>
        </pc:sldMkLst>
      </pc:sldChg>
      <pc:sldChg chg="del">
        <pc:chgData name="Remi SOULISSE" userId="556de9a5-59e2-46b7-a01d-b9c118fccc3c" providerId="ADAL" clId="{C488FABF-55ED-4877-81C3-50E14369BE6A}" dt="2023-04-05T14:34:20.257" v="1" actId="47"/>
        <pc:sldMkLst>
          <pc:docMk/>
          <pc:sldMk cId="3675747821" sldId="9386"/>
        </pc:sldMkLst>
      </pc:sldChg>
      <pc:sldChg chg="del">
        <pc:chgData name="Remi SOULISSE" userId="556de9a5-59e2-46b7-a01d-b9c118fccc3c" providerId="ADAL" clId="{C488FABF-55ED-4877-81C3-50E14369BE6A}" dt="2023-04-05T14:34:20.257" v="1" actId="47"/>
        <pc:sldMkLst>
          <pc:docMk/>
          <pc:sldMk cId="3713869623" sldId="9388"/>
        </pc:sldMkLst>
      </pc:sldChg>
      <pc:sldChg chg="del">
        <pc:chgData name="Remi SOULISSE" userId="556de9a5-59e2-46b7-a01d-b9c118fccc3c" providerId="ADAL" clId="{C488FABF-55ED-4877-81C3-50E14369BE6A}" dt="2023-04-05T14:34:20.257" v="1" actId="47"/>
        <pc:sldMkLst>
          <pc:docMk/>
          <pc:sldMk cId="2077465055" sldId="9391"/>
        </pc:sldMkLst>
      </pc:sldChg>
      <pc:sldChg chg="del">
        <pc:chgData name="Remi SOULISSE" userId="556de9a5-59e2-46b7-a01d-b9c118fccc3c" providerId="ADAL" clId="{C488FABF-55ED-4877-81C3-50E14369BE6A}" dt="2023-04-05T14:34:20.257" v="1" actId="47"/>
        <pc:sldMkLst>
          <pc:docMk/>
          <pc:sldMk cId="2053280260" sldId="9395"/>
        </pc:sldMkLst>
      </pc:sldChg>
      <pc:sldChg chg="del">
        <pc:chgData name="Remi SOULISSE" userId="556de9a5-59e2-46b7-a01d-b9c118fccc3c" providerId="ADAL" clId="{C488FABF-55ED-4877-81C3-50E14369BE6A}" dt="2023-04-05T14:34:20.257" v="1" actId="47"/>
        <pc:sldMkLst>
          <pc:docMk/>
          <pc:sldMk cId="2620342375" sldId="9396"/>
        </pc:sldMkLst>
      </pc:sldChg>
      <pc:sldChg chg="del">
        <pc:chgData name="Remi SOULISSE" userId="556de9a5-59e2-46b7-a01d-b9c118fccc3c" providerId="ADAL" clId="{C488FABF-55ED-4877-81C3-50E14369BE6A}" dt="2023-04-05T14:34:20.257" v="1" actId="47"/>
        <pc:sldMkLst>
          <pc:docMk/>
          <pc:sldMk cId="3715948186" sldId="9397"/>
        </pc:sldMkLst>
      </pc:sldChg>
      <pc:sldChg chg="del">
        <pc:chgData name="Remi SOULISSE" userId="556de9a5-59e2-46b7-a01d-b9c118fccc3c" providerId="ADAL" clId="{C488FABF-55ED-4877-81C3-50E14369BE6A}" dt="2023-04-05T14:34:20.257" v="1" actId="47"/>
        <pc:sldMkLst>
          <pc:docMk/>
          <pc:sldMk cId="1161661241" sldId="9399"/>
        </pc:sldMkLst>
      </pc:sldChg>
      <pc:sldChg chg="del">
        <pc:chgData name="Remi SOULISSE" userId="556de9a5-59e2-46b7-a01d-b9c118fccc3c" providerId="ADAL" clId="{C488FABF-55ED-4877-81C3-50E14369BE6A}" dt="2023-04-05T14:34:20.257" v="1" actId="47"/>
        <pc:sldMkLst>
          <pc:docMk/>
          <pc:sldMk cId="1062555426" sldId="9400"/>
        </pc:sldMkLst>
      </pc:sldChg>
      <pc:sldChg chg="del">
        <pc:chgData name="Remi SOULISSE" userId="556de9a5-59e2-46b7-a01d-b9c118fccc3c" providerId="ADAL" clId="{C488FABF-55ED-4877-81C3-50E14369BE6A}" dt="2023-04-05T14:34:20.257" v="1" actId="47"/>
        <pc:sldMkLst>
          <pc:docMk/>
          <pc:sldMk cId="133052091" sldId="9402"/>
        </pc:sldMkLst>
      </pc:sldChg>
      <pc:sldChg chg="del">
        <pc:chgData name="Remi SOULISSE" userId="556de9a5-59e2-46b7-a01d-b9c118fccc3c" providerId="ADAL" clId="{C488FABF-55ED-4877-81C3-50E14369BE6A}" dt="2023-04-05T14:34:20.257" v="1" actId="47"/>
        <pc:sldMkLst>
          <pc:docMk/>
          <pc:sldMk cId="4114594238" sldId="9403"/>
        </pc:sldMkLst>
      </pc:sldChg>
      <pc:sldChg chg="del">
        <pc:chgData name="Remi SOULISSE" userId="556de9a5-59e2-46b7-a01d-b9c118fccc3c" providerId="ADAL" clId="{C488FABF-55ED-4877-81C3-50E14369BE6A}" dt="2023-04-05T14:34:20.257" v="1" actId="47"/>
        <pc:sldMkLst>
          <pc:docMk/>
          <pc:sldMk cId="1828698602" sldId="9405"/>
        </pc:sldMkLst>
      </pc:sldChg>
      <pc:sldChg chg="del">
        <pc:chgData name="Remi SOULISSE" userId="556de9a5-59e2-46b7-a01d-b9c118fccc3c" providerId="ADAL" clId="{C488FABF-55ED-4877-81C3-50E14369BE6A}" dt="2023-04-05T14:34:20.257" v="1" actId="47"/>
        <pc:sldMkLst>
          <pc:docMk/>
          <pc:sldMk cId="283372761" sldId="9406"/>
        </pc:sldMkLst>
      </pc:sldChg>
      <pc:sldChg chg="del">
        <pc:chgData name="Remi SOULISSE" userId="556de9a5-59e2-46b7-a01d-b9c118fccc3c" providerId="ADAL" clId="{C488FABF-55ED-4877-81C3-50E14369BE6A}" dt="2023-04-05T14:34:20.257" v="1" actId="47"/>
        <pc:sldMkLst>
          <pc:docMk/>
          <pc:sldMk cId="3591938354" sldId="9410"/>
        </pc:sldMkLst>
      </pc:sldChg>
      <pc:sldChg chg="del">
        <pc:chgData name="Remi SOULISSE" userId="556de9a5-59e2-46b7-a01d-b9c118fccc3c" providerId="ADAL" clId="{C488FABF-55ED-4877-81C3-50E14369BE6A}" dt="2023-04-05T14:34:20.257" v="1" actId="47"/>
        <pc:sldMkLst>
          <pc:docMk/>
          <pc:sldMk cId="2684506340" sldId="9411"/>
        </pc:sldMkLst>
      </pc:sldChg>
      <pc:sldChg chg="del">
        <pc:chgData name="Remi SOULISSE" userId="556de9a5-59e2-46b7-a01d-b9c118fccc3c" providerId="ADAL" clId="{C488FABF-55ED-4877-81C3-50E14369BE6A}" dt="2023-04-05T14:34:20.257" v="1" actId="47"/>
        <pc:sldMkLst>
          <pc:docMk/>
          <pc:sldMk cId="2648305919" sldId="9412"/>
        </pc:sldMkLst>
      </pc:sldChg>
      <pc:sldChg chg="delSp modSp mod">
        <pc:chgData name="Remi SOULISSE" userId="556de9a5-59e2-46b7-a01d-b9c118fccc3c" providerId="ADAL" clId="{C488FABF-55ED-4877-81C3-50E14369BE6A}" dt="2023-04-05T14:42:08.817" v="225" actId="404"/>
        <pc:sldMkLst>
          <pc:docMk/>
          <pc:sldMk cId="3716569532" sldId="2134804829"/>
        </pc:sldMkLst>
      </pc:sldChg>
      <pc:sldChg chg="del">
        <pc:chgData name="Remi SOULISSE" userId="556de9a5-59e2-46b7-a01d-b9c118fccc3c" providerId="ADAL" clId="{C488FABF-55ED-4877-81C3-50E14369BE6A}" dt="2023-04-05T14:34:20.257" v="1" actId="47"/>
        <pc:sldMkLst>
          <pc:docMk/>
          <pc:sldMk cId="1516341013" sldId="2134804830"/>
        </pc:sldMkLst>
      </pc:sldChg>
      <pc:sldChg chg="del">
        <pc:chgData name="Remi SOULISSE" userId="556de9a5-59e2-46b7-a01d-b9c118fccc3c" providerId="ADAL" clId="{C488FABF-55ED-4877-81C3-50E14369BE6A}" dt="2023-04-05T14:34:20.257" v="1" actId="47"/>
        <pc:sldMkLst>
          <pc:docMk/>
          <pc:sldMk cId="1891540165" sldId="2134804832"/>
        </pc:sldMkLst>
      </pc:sldChg>
      <pc:sldChg chg="del">
        <pc:chgData name="Remi SOULISSE" userId="556de9a5-59e2-46b7-a01d-b9c118fccc3c" providerId="ADAL" clId="{C488FABF-55ED-4877-81C3-50E14369BE6A}" dt="2023-04-05T14:34:20.257" v="1" actId="47"/>
        <pc:sldMkLst>
          <pc:docMk/>
          <pc:sldMk cId="3535125429" sldId="2134804841"/>
        </pc:sldMkLst>
      </pc:sldChg>
      <pc:sldChg chg="del">
        <pc:chgData name="Remi SOULISSE" userId="556de9a5-59e2-46b7-a01d-b9c118fccc3c" providerId="ADAL" clId="{C488FABF-55ED-4877-81C3-50E14369BE6A}" dt="2023-04-05T14:34:15.440" v="0" actId="47"/>
        <pc:sldMkLst>
          <pc:docMk/>
          <pc:sldMk cId="2020903331" sldId="2134804848"/>
        </pc:sldMkLst>
      </pc:sldChg>
      <pc:sldChg chg="del">
        <pc:chgData name="Remi SOULISSE" userId="556de9a5-59e2-46b7-a01d-b9c118fccc3c" providerId="ADAL" clId="{C488FABF-55ED-4877-81C3-50E14369BE6A}" dt="2023-04-05T14:34:20.257" v="1" actId="47"/>
        <pc:sldMkLst>
          <pc:docMk/>
          <pc:sldMk cId="3333908891" sldId="2134804851"/>
        </pc:sldMkLst>
      </pc:sldChg>
      <pc:sldChg chg="del">
        <pc:chgData name="Remi SOULISSE" userId="556de9a5-59e2-46b7-a01d-b9c118fccc3c" providerId="ADAL" clId="{C488FABF-55ED-4877-81C3-50E14369BE6A}" dt="2023-04-05T14:34:20.257" v="1" actId="47"/>
        <pc:sldMkLst>
          <pc:docMk/>
          <pc:sldMk cId="626633854" sldId="2134804857"/>
        </pc:sldMkLst>
      </pc:sldChg>
      <pc:sldChg chg="del">
        <pc:chgData name="Remi SOULISSE" userId="556de9a5-59e2-46b7-a01d-b9c118fccc3c" providerId="ADAL" clId="{C488FABF-55ED-4877-81C3-50E14369BE6A}" dt="2023-04-05T14:34:20.257" v="1" actId="47"/>
        <pc:sldMkLst>
          <pc:docMk/>
          <pc:sldMk cId="1701727620" sldId="2134804858"/>
        </pc:sldMkLst>
      </pc:sldChg>
      <pc:sldChg chg="del">
        <pc:chgData name="Remi SOULISSE" userId="556de9a5-59e2-46b7-a01d-b9c118fccc3c" providerId="ADAL" clId="{C488FABF-55ED-4877-81C3-50E14369BE6A}" dt="2023-04-05T14:34:20.257" v="1" actId="47"/>
        <pc:sldMkLst>
          <pc:docMk/>
          <pc:sldMk cId="3706459772" sldId="2134804859"/>
        </pc:sldMkLst>
      </pc:sldChg>
      <pc:sldChg chg="addSp delSp modSp mod delCm">
        <pc:chgData name="Remi SOULISSE" userId="556de9a5-59e2-46b7-a01d-b9c118fccc3c" providerId="ADAL" clId="{C488FABF-55ED-4877-81C3-50E14369BE6A}" dt="2023-04-05T14:42:46.862" v="240" actId="113"/>
        <pc:sldMkLst>
          <pc:docMk/>
          <pc:sldMk cId="308154884" sldId="2134804863"/>
        </pc:sldMkLst>
        <pc:extLst>
          <p:ext xmlns:p="http://schemas.openxmlformats.org/presentationml/2006/main" uri="{D6D511B9-2390-475A-947B-AFAB55BFBCF1}">
            <pc226:cmChg xmlns:pc226="http://schemas.microsoft.com/office/powerpoint/2022/06/main/command" chg="del">
              <pc226:chgData name="Remi SOULISSE" userId="556de9a5-59e2-46b7-a01d-b9c118fccc3c" providerId="ADAL" clId="{C488FABF-55ED-4877-81C3-50E14369BE6A}" dt="2023-04-05T14:34:23.238" v="2"/>
              <pc2:cmMkLst xmlns:pc2="http://schemas.microsoft.com/office/powerpoint/2019/9/main/command">
                <pc:docMk/>
                <pc:sldMk cId="308154884" sldId="2134804863"/>
                <pc2:cmMk id="{E4461645-8B20-4D71-BDE7-440D64BD3777}"/>
              </pc2:cmMkLst>
            </pc226:cmChg>
          </p:ext>
        </pc:extLst>
      </pc:sldChg>
      <pc:sldChg chg="addSp delSp modSp add mod">
        <pc:chgData name="Remi SOULISSE" userId="556de9a5-59e2-46b7-a01d-b9c118fccc3c" providerId="ADAL" clId="{C488FABF-55ED-4877-81C3-50E14369BE6A}" dt="2023-04-05T14:43:36.884" v="246" actId="1076"/>
        <pc:sldMkLst>
          <pc:docMk/>
          <pc:sldMk cId="1578555756" sldId="2134804864"/>
        </pc:sldMkLst>
      </pc:sldChg>
      <pc:sldChg chg="del">
        <pc:chgData name="Remi SOULISSE" userId="556de9a5-59e2-46b7-a01d-b9c118fccc3c" providerId="ADAL" clId="{C488FABF-55ED-4877-81C3-50E14369BE6A}" dt="2023-04-05T14:34:20.257" v="1" actId="47"/>
        <pc:sldMkLst>
          <pc:docMk/>
          <pc:sldMk cId="1825751004" sldId="2134804864"/>
        </pc:sldMkLst>
      </pc:sldChg>
      <pc:sldChg chg="addSp delSp modSp add mod ord">
        <pc:chgData name="Remi SOULISSE" userId="556de9a5-59e2-46b7-a01d-b9c118fccc3c" providerId="ADAL" clId="{C488FABF-55ED-4877-81C3-50E14369BE6A}" dt="2023-04-05T14:45:35.500" v="276" actId="14100"/>
        <pc:sldMkLst>
          <pc:docMk/>
          <pc:sldMk cId="1400704932" sldId="2134804865"/>
        </pc:sldMkLst>
      </pc:sldChg>
      <pc:sldChg chg="del">
        <pc:chgData name="Remi SOULISSE" userId="556de9a5-59e2-46b7-a01d-b9c118fccc3c" providerId="ADAL" clId="{C488FABF-55ED-4877-81C3-50E14369BE6A}" dt="2023-04-05T14:34:20.257" v="1" actId="47"/>
        <pc:sldMkLst>
          <pc:docMk/>
          <pc:sldMk cId="3324387839" sldId="2134804865"/>
        </pc:sldMkLst>
      </pc:sldChg>
      <pc:sldChg chg="delSp modSp add mod">
        <pc:chgData name="Remi SOULISSE" userId="556de9a5-59e2-46b7-a01d-b9c118fccc3c" providerId="ADAL" clId="{C488FABF-55ED-4877-81C3-50E14369BE6A}" dt="2023-04-05T14:54:37.084" v="372" actId="1076"/>
        <pc:sldMkLst>
          <pc:docMk/>
          <pc:sldMk cId="2579865514" sldId="2134804866"/>
        </pc:sldMkLst>
      </pc:sldChg>
      <pc:sldChg chg="del">
        <pc:chgData name="Remi SOULISSE" userId="556de9a5-59e2-46b7-a01d-b9c118fccc3c" providerId="ADAL" clId="{C488FABF-55ED-4877-81C3-50E14369BE6A}" dt="2023-04-05T14:34:20.257" v="1" actId="47"/>
        <pc:sldMkLst>
          <pc:docMk/>
          <pc:sldMk cId="3581035853" sldId="2134804866"/>
        </pc:sldMkLst>
      </pc:sldChg>
      <pc:sldChg chg="del">
        <pc:chgData name="Remi SOULISSE" userId="556de9a5-59e2-46b7-a01d-b9c118fccc3c" providerId="ADAL" clId="{C488FABF-55ED-4877-81C3-50E14369BE6A}" dt="2023-04-05T14:34:20.257" v="1" actId="47"/>
        <pc:sldMkLst>
          <pc:docMk/>
          <pc:sldMk cId="1466948822" sldId="2134804869"/>
        </pc:sldMkLst>
      </pc:sldChg>
      <pc:sldChg chg="del">
        <pc:chgData name="Remi SOULISSE" userId="556de9a5-59e2-46b7-a01d-b9c118fccc3c" providerId="ADAL" clId="{C488FABF-55ED-4877-81C3-50E14369BE6A}" dt="2023-04-05T14:34:20.257" v="1" actId="47"/>
        <pc:sldMkLst>
          <pc:docMk/>
          <pc:sldMk cId="705812522" sldId="2134804870"/>
        </pc:sldMkLst>
      </pc:sldChg>
      <pc:sldChg chg="del">
        <pc:chgData name="Remi SOULISSE" userId="556de9a5-59e2-46b7-a01d-b9c118fccc3c" providerId="ADAL" clId="{C488FABF-55ED-4877-81C3-50E14369BE6A}" dt="2023-04-05T14:34:20.257" v="1" actId="47"/>
        <pc:sldMkLst>
          <pc:docMk/>
          <pc:sldMk cId="1896888031" sldId="2134804871"/>
        </pc:sldMkLst>
      </pc:sldChg>
      <pc:sldChg chg="del">
        <pc:chgData name="Remi SOULISSE" userId="556de9a5-59e2-46b7-a01d-b9c118fccc3c" providerId="ADAL" clId="{C488FABF-55ED-4877-81C3-50E14369BE6A}" dt="2023-04-05T14:34:20.257" v="1" actId="47"/>
        <pc:sldMkLst>
          <pc:docMk/>
          <pc:sldMk cId="4154046235" sldId="2134804872"/>
        </pc:sldMkLst>
      </pc:sldChg>
      <pc:sldChg chg="del">
        <pc:chgData name="Remi SOULISSE" userId="556de9a5-59e2-46b7-a01d-b9c118fccc3c" providerId="ADAL" clId="{C488FABF-55ED-4877-81C3-50E14369BE6A}" dt="2023-04-05T14:34:20.257" v="1" actId="47"/>
        <pc:sldMkLst>
          <pc:docMk/>
          <pc:sldMk cId="3285692956" sldId="2134804873"/>
        </pc:sldMkLst>
      </pc:sldChg>
      <pc:sldChg chg="del">
        <pc:chgData name="Remi SOULISSE" userId="556de9a5-59e2-46b7-a01d-b9c118fccc3c" providerId="ADAL" clId="{C488FABF-55ED-4877-81C3-50E14369BE6A}" dt="2023-04-05T14:34:20.257" v="1" actId="47"/>
        <pc:sldMkLst>
          <pc:docMk/>
          <pc:sldMk cId="203723799" sldId="2134804875"/>
        </pc:sldMkLst>
      </pc:sldChg>
      <pc:sldMasterChg chg="del delSldLayout">
        <pc:chgData name="Remi SOULISSE" userId="556de9a5-59e2-46b7-a01d-b9c118fccc3c" providerId="ADAL" clId="{C488FABF-55ED-4877-81C3-50E14369BE6A}" dt="2023-04-05T14:34:20.257" v="1" actId="47"/>
        <pc:sldMasterMkLst>
          <pc:docMk/>
          <pc:sldMasterMk cId="2411659914" sldId="2147483666"/>
        </pc:sldMasterMkLst>
        <pc:sldLayoutChg chg="del">
          <pc:chgData name="Remi SOULISSE" userId="556de9a5-59e2-46b7-a01d-b9c118fccc3c" providerId="ADAL" clId="{C488FABF-55ED-4877-81C3-50E14369BE6A}" dt="2023-04-05T14:34:20.257" v="1" actId="47"/>
          <pc:sldLayoutMkLst>
            <pc:docMk/>
            <pc:sldMasterMk cId="2411659914" sldId="2147483666"/>
            <pc:sldLayoutMk cId="3668745966" sldId="2147483667"/>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2884964477" sldId="2147483669"/>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716849366" sldId="2147483670"/>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4129141406" sldId="2147483671"/>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1571999519" sldId="2147483673"/>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2058361480" sldId="2147483676"/>
          </pc:sldLayoutMkLst>
        </pc:sldLayoutChg>
        <pc:sldLayoutChg chg="del">
          <pc:chgData name="Remi SOULISSE" userId="556de9a5-59e2-46b7-a01d-b9c118fccc3c" providerId="ADAL" clId="{C488FABF-55ED-4877-81C3-50E14369BE6A}" dt="2023-04-05T14:34:20.257" v="1" actId="47"/>
          <pc:sldLayoutMkLst>
            <pc:docMk/>
            <pc:sldMasterMk cId="2411659914" sldId="2147483666"/>
            <pc:sldLayoutMk cId="4090369088" sldId="2147483701"/>
          </pc:sldLayoutMkLst>
        </pc:sldLayoutChg>
      </pc:sldMasterChg>
      <pc:sldMasterChg chg="delSldLayout modSldLayout">
        <pc:chgData name="Remi SOULISSE" userId="556de9a5-59e2-46b7-a01d-b9c118fccc3c" providerId="ADAL" clId="{C488FABF-55ED-4877-81C3-50E14369BE6A}" dt="2023-04-05T14:38:51.353" v="175" actId="735"/>
        <pc:sldMasterMkLst>
          <pc:docMk/>
          <pc:sldMasterMk cId="4096898770" sldId="2147483677"/>
        </pc:sldMasterMkLst>
        <pc:sldLayoutChg chg="modSp del">
          <pc:chgData name="Remi SOULISSE" userId="556de9a5-59e2-46b7-a01d-b9c118fccc3c" providerId="ADAL" clId="{C488FABF-55ED-4877-81C3-50E14369BE6A}" dt="2023-04-05T14:38:51.113" v="167" actId="2696"/>
          <pc:sldLayoutMkLst>
            <pc:docMk/>
            <pc:sldMasterMk cId="4096898770" sldId="2147483677"/>
            <pc:sldLayoutMk cId="1635272500" sldId="2147483692"/>
          </pc:sldLayoutMkLst>
        </pc:sldLayoutChg>
        <pc:sldLayoutChg chg="modSp del">
          <pc:chgData name="Remi SOULISSE" userId="556de9a5-59e2-46b7-a01d-b9c118fccc3c" providerId="ADAL" clId="{C488FABF-55ED-4877-81C3-50E14369BE6A}" dt="2023-04-05T14:38:51.134" v="169" actId="2696"/>
          <pc:sldLayoutMkLst>
            <pc:docMk/>
            <pc:sldMasterMk cId="4096898770" sldId="2147483677"/>
            <pc:sldLayoutMk cId="2905744989" sldId="2147483694"/>
          </pc:sldLayoutMkLst>
        </pc:sldLayoutChg>
        <pc:sldLayoutChg chg="del">
          <pc:chgData name="Remi SOULISSE" userId="556de9a5-59e2-46b7-a01d-b9c118fccc3c" providerId="ADAL" clId="{C488FABF-55ED-4877-81C3-50E14369BE6A}" dt="2023-04-05T14:38:51.151" v="170" actId="2696"/>
          <pc:sldLayoutMkLst>
            <pc:docMk/>
            <pc:sldMasterMk cId="4096898770" sldId="2147483677"/>
            <pc:sldLayoutMk cId="1127617945" sldId="2147483695"/>
          </pc:sldLayoutMkLst>
        </pc:sldLayoutChg>
        <pc:sldLayoutChg chg="delSp modSp del mod">
          <pc:chgData name="Remi SOULISSE" userId="556de9a5-59e2-46b7-a01d-b9c118fccc3c" providerId="ADAL" clId="{C488FABF-55ED-4877-81C3-50E14369BE6A}" dt="2023-04-05T14:38:51.172" v="171" actId="2696"/>
          <pc:sldLayoutMkLst>
            <pc:docMk/>
            <pc:sldMasterMk cId="4096898770" sldId="2147483677"/>
            <pc:sldLayoutMk cId="571949594" sldId="2147483696"/>
          </pc:sldLayoutMkLst>
        </pc:sldLayoutChg>
        <pc:sldLayoutChg chg="del">
          <pc:chgData name="Remi SOULISSE" userId="556de9a5-59e2-46b7-a01d-b9c118fccc3c" providerId="ADAL" clId="{C488FABF-55ED-4877-81C3-50E14369BE6A}" dt="2023-04-05T14:34:20.257" v="1" actId="47"/>
          <pc:sldLayoutMkLst>
            <pc:docMk/>
            <pc:sldMasterMk cId="4096898770" sldId="2147483677"/>
            <pc:sldLayoutMk cId="3358322886" sldId="2147483697"/>
          </pc:sldLayoutMkLst>
        </pc:sldLayoutChg>
        <pc:sldLayoutChg chg="delSp del mod">
          <pc:chgData name="Remi SOULISSE" userId="556de9a5-59e2-46b7-a01d-b9c118fccc3c" providerId="ADAL" clId="{C488FABF-55ED-4877-81C3-50E14369BE6A}" dt="2023-04-05T14:38:51.186" v="172" actId="2696"/>
          <pc:sldLayoutMkLst>
            <pc:docMk/>
            <pc:sldMasterMk cId="4096898770" sldId="2147483677"/>
            <pc:sldLayoutMk cId="4063998931" sldId="2147483698"/>
          </pc:sldLayoutMkLst>
        </pc:sldLayoutChg>
        <pc:sldLayoutChg chg="del">
          <pc:chgData name="Remi SOULISSE" userId="556de9a5-59e2-46b7-a01d-b9c118fccc3c" providerId="ADAL" clId="{C488FABF-55ED-4877-81C3-50E14369BE6A}" dt="2023-04-05T14:38:51.211" v="173" actId="2696"/>
          <pc:sldLayoutMkLst>
            <pc:docMk/>
            <pc:sldMasterMk cId="4096898770" sldId="2147483677"/>
            <pc:sldLayoutMk cId="3264831399" sldId="2147483699"/>
          </pc:sldLayoutMkLst>
        </pc:sldLayoutChg>
        <pc:sldLayoutChg chg="del">
          <pc:chgData name="Remi SOULISSE" userId="556de9a5-59e2-46b7-a01d-b9c118fccc3c" providerId="ADAL" clId="{C488FABF-55ED-4877-81C3-50E14369BE6A}" dt="2023-04-05T14:38:51.229" v="174" actId="2696"/>
          <pc:sldLayoutMkLst>
            <pc:docMk/>
            <pc:sldMasterMk cId="4096898770" sldId="2147483677"/>
            <pc:sldLayoutMk cId="722908862" sldId="2147483700"/>
          </pc:sldLayoutMkLst>
        </pc:sldLayoutChg>
        <pc:sldLayoutChg chg="delSp modSp mod">
          <pc:chgData name="Remi SOULISSE" userId="556de9a5-59e2-46b7-a01d-b9c118fccc3c" providerId="ADAL" clId="{C488FABF-55ED-4877-81C3-50E14369BE6A}" dt="2023-04-05T14:38:34.819" v="159" actId="478"/>
          <pc:sldLayoutMkLst>
            <pc:docMk/>
            <pc:sldMasterMk cId="4096898770" sldId="2147483677"/>
            <pc:sldLayoutMk cId="602360397" sldId="2147483711"/>
          </pc:sldLayoutMkLst>
        </pc:sldLayoutChg>
        <pc:sldLayoutChg chg="modSp">
          <pc:chgData name="Remi SOULISSE" userId="556de9a5-59e2-46b7-a01d-b9c118fccc3c" providerId="ADAL" clId="{C488FABF-55ED-4877-81C3-50E14369BE6A}" dt="2023-04-05T14:38:51.353" v="175" actId="735"/>
          <pc:sldLayoutMkLst>
            <pc:docMk/>
            <pc:sldMasterMk cId="4096898770" sldId="2147483677"/>
            <pc:sldLayoutMk cId="4084018785" sldId="2147483712"/>
          </pc:sldLayoutMkLst>
        </pc:sldLayoutChg>
      </pc:sldMasterChg>
    </pc:docChg>
  </pc:docChgLst>
  <pc:docChgLst>
    <pc:chgData name="Remi SOULISSE" userId="S::rsoulisse_greenflex.com#ext#@energiesprongglobalalliance.onmicrosoft.com::6140c757-5141-4650-bef0-0de6c1df3eb5" providerId="AD" clId="Web-{3901ABE5-C221-E22D-397D-1AD369AC9269}"/>
    <pc:docChg chg="delSld modSection">
      <pc:chgData name="Remi SOULISSE" userId="S::rsoulisse_greenflex.com#ext#@energiesprongglobalalliance.onmicrosoft.com::6140c757-5141-4650-bef0-0de6c1df3eb5" providerId="AD" clId="Web-{3901ABE5-C221-E22D-397D-1AD369AC9269}" dt="2025-06-03T12:43:19.681" v="0"/>
      <pc:docMkLst>
        <pc:docMk/>
      </pc:docMkLst>
      <pc:sldChg chg="del">
        <pc:chgData name="Remi SOULISSE" userId="S::rsoulisse_greenflex.com#ext#@energiesprongglobalalliance.onmicrosoft.com::6140c757-5141-4650-bef0-0de6c1df3eb5" providerId="AD" clId="Web-{3901ABE5-C221-E22D-397D-1AD369AC9269}" dt="2025-06-03T12:43:19.681" v="0"/>
        <pc:sldMkLst>
          <pc:docMk/>
          <pc:sldMk cId="2579865514" sldId="2134804866"/>
        </pc:sldMkLst>
      </pc:sldChg>
    </pc:docChg>
  </pc:docChgLst>
  <pc:docChgLst>
    <pc:chgData name="Chiara Stanghini" userId="b3c2a22a-9f90-4ed0-8b5b-3a4aef1b1b2f" providerId="ADAL" clId="{10C196B8-EDF2-45DD-82B2-92CC58E69E36}"/>
    <pc:docChg chg="undo redo custSel addSld modSld">
      <pc:chgData name="Chiara Stanghini" userId="b3c2a22a-9f90-4ed0-8b5b-3a4aef1b1b2f" providerId="ADAL" clId="{10C196B8-EDF2-45DD-82B2-92CC58E69E36}" dt="2023-08-31T12:34:56.362" v="2909" actId="20577"/>
      <pc:docMkLst>
        <pc:docMk/>
      </pc:docMkLst>
      <pc:sldChg chg="addSp delSp modSp new mod setBg addCm modCm">
        <pc:chgData name="Chiara Stanghini" userId="b3c2a22a-9f90-4ed0-8b5b-3a4aef1b1b2f" providerId="ADAL" clId="{10C196B8-EDF2-45DD-82B2-92CC58E69E36}" dt="2023-08-31T12:31:23.693" v="2716" actId="20577"/>
        <pc:sldMkLst>
          <pc:docMk/>
          <pc:sldMk cId="4230169978" sldId="2134804868"/>
        </pc:sldMkLst>
        <pc:extLst>
          <p:ext xmlns:p="http://schemas.openxmlformats.org/presentationml/2006/main" uri="{D6D511B9-2390-475A-947B-AFAB55BFBCF1}">
            <pc226:cmChg xmlns:pc226="http://schemas.microsoft.com/office/powerpoint/2022/06/main/command" chg="add mod">
              <pc226:chgData name="Chiara Stanghini" userId="b3c2a22a-9f90-4ed0-8b5b-3a4aef1b1b2f" providerId="ADAL" clId="{10C196B8-EDF2-45DD-82B2-92CC58E69E36}" dt="2023-08-31T08:08:59.471" v="119"/>
              <pc2:cmMkLst xmlns:pc2="http://schemas.microsoft.com/office/powerpoint/2019/9/main/command">
                <pc:docMk/>
                <pc:sldMk cId="4230169978" sldId="2134804868"/>
                <pc2:cmMk id="{27076565-1003-4B6D-9912-E8D5FBBD1041}"/>
              </pc2:cmMkLst>
            </pc226:cmChg>
            <pc226:cmChg xmlns:pc226="http://schemas.microsoft.com/office/powerpoint/2022/06/main/command" chg="add">
              <pc226:chgData name="Chiara Stanghini" userId="b3c2a22a-9f90-4ed0-8b5b-3a4aef1b1b2f" providerId="ADAL" clId="{10C196B8-EDF2-45DD-82B2-92CC58E69E36}" dt="2023-08-31T08:05:01.461" v="118"/>
              <pc2:cmMkLst xmlns:pc2="http://schemas.microsoft.com/office/powerpoint/2019/9/main/command">
                <pc:docMk/>
                <pc:sldMk cId="4230169978" sldId="2134804868"/>
                <pc2:cmMk id="{C427276D-227C-4769-931A-A4181547A0EB}"/>
              </pc2:cmMkLst>
            </pc226:cmChg>
          </p:ext>
        </pc:extLst>
      </pc:sldChg>
      <pc:sldChg chg="addSp delSp modSp add mod">
        <pc:chgData name="Chiara Stanghini" userId="b3c2a22a-9f90-4ed0-8b5b-3a4aef1b1b2f" providerId="ADAL" clId="{10C196B8-EDF2-45DD-82B2-92CC58E69E36}" dt="2023-08-31T12:34:56.362" v="2909" actId="20577"/>
        <pc:sldMkLst>
          <pc:docMk/>
          <pc:sldMk cId="617007041" sldId="2134804869"/>
        </pc:sldMkLst>
      </pc:sldChg>
    </pc:docChg>
  </pc:docChgLst>
  <pc:docChgLst>
    <pc:chgData name="Remi SOULISSE" userId="556de9a5-59e2-46b7-a01d-b9c118fccc3c" providerId="ADAL" clId="{B95E174B-C467-4BB2-B065-4C3D16482BEB}"/>
    <pc:docChg chg="undo redo custSel addSld modSld">
      <pc:chgData name="Remi SOULISSE" userId="556de9a5-59e2-46b7-a01d-b9c118fccc3c" providerId="ADAL" clId="{B95E174B-C467-4BB2-B065-4C3D16482BEB}" dt="2023-10-10T13:54:31.426" v="1242" actId="20577"/>
      <pc:docMkLst>
        <pc:docMk/>
      </pc:docMkLst>
      <pc:sldChg chg="mod modShow">
        <pc:chgData name="Remi SOULISSE" userId="556de9a5-59e2-46b7-a01d-b9c118fccc3c" providerId="ADAL" clId="{B95E174B-C467-4BB2-B065-4C3D16482BEB}" dt="2023-10-10T09:30:33.288" v="247" actId="729"/>
        <pc:sldMkLst>
          <pc:docMk/>
          <pc:sldMk cId="1171383821" sldId="2134804867"/>
        </pc:sldMkLst>
      </pc:sldChg>
      <pc:sldChg chg="mod modShow modNotesTx">
        <pc:chgData name="Remi SOULISSE" userId="556de9a5-59e2-46b7-a01d-b9c118fccc3c" providerId="ADAL" clId="{B95E174B-C467-4BB2-B065-4C3D16482BEB}" dt="2023-10-10T09:30:29.316" v="246" actId="729"/>
        <pc:sldMkLst>
          <pc:docMk/>
          <pc:sldMk cId="4094083513" sldId="2134804870"/>
        </pc:sldMkLst>
      </pc:sldChg>
      <pc:sldChg chg="addSp delSp modSp add mod modNotesTx">
        <pc:chgData name="Remi SOULISSE" userId="556de9a5-59e2-46b7-a01d-b9c118fccc3c" providerId="ADAL" clId="{B95E174B-C467-4BB2-B065-4C3D16482BEB}" dt="2023-10-10T13:54:31.426" v="1242" actId="20577"/>
        <pc:sldMkLst>
          <pc:docMk/>
          <pc:sldMk cId="3109042078" sldId="2134804871"/>
        </pc:sldMkLst>
      </pc:sldChg>
    </pc:docChg>
  </pc:docChgLst>
  <pc:docChgLst>
    <pc:chgData name="Remi SOULISSE" userId="S::rsoulisse@greenflex.com::556de9a5-59e2-46b7-a01d-b9c118fccc3c" providerId="AD" clId="Web-{732F8F57-5189-880D-C266-D2F0BFBD5D7E}"/>
    <pc:docChg chg="modSld">
      <pc:chgData name="Remi SOULISSE" userId="S::rsoulisse@greenflex.com::556de9a5-59e2-46b7-a01d-b9c118fccc3c" providerId="AD" clId="Web-{732F8F57-5189-880D-C266-D2F0BFBD5D7E}" dt="2023-09-20T07:40:30.124" v="13"/>
      <pc:docMkLst>
        <pc:docMk/>
      </pc:docMkLst>
      <pc:sldChg chg="modSp">
        <pc:chgData name="Remi SOULISSE" userId="S::rsoulisse@greenflex.com::556de9a5-59e2-46b7-a01d-b9c118fccc3c" providerId="AD" clId="Web-{732F8F57-5189-880D-C266-D2F0BFBD5D7E}" dt="2023-09-20T07:39:45.247" v="10" actId="1076"/>
        <pc:sldMkLst>
          <pc:docMk/>
          <pc:sldMk cId="3716569532" sldId="2134804829"/>
        </pc:sldMkLst>
      </pc:sldChg>
      <pc:sldChg chg="modCm">
        <pc:chgData name="Remi SOULISSE" userId="S::rsoulisse@greenflex.com::556de9a5-59e2-46b7-a01d-b9c118fccc3c" providerId="AD" clId="Web-{732F8F57-5189-880D-C266-D2F0BFBD5D7E}" dt="2023-09-20T07:40:19.077" v="12"/>
        <pc:sldMkLst>
          <pc:docMk/>
          <pc:sldMk cId="1578555756" sldId="2134804864"/>
        </pc:sldMkLst>
        <pc:extLst>
          <p:ext xmlns:p="http://schemas.openxmlformats.org/presentationml/2006/main" uri="{D6D511B9-2390-475A-947B-AFAB55BFBCF1}">
            <pc226:cmChg xmlns:pc226="http://schemas.microsoft.com/office/powerpoint/2022/06/main/command" chg="mod">
              <pc226:chgData name="Remi SOULISSE" userId="S::rsoulisse@greenflex.com::556de9a5-59e2-46b7-a01d-b9c118fccc3c" providerId="AD" clId="Web-{732F8F57-5189-880D-C266-D2F0BFBD5D7E}" dt="2023-09-20T07:40:13.264" v="11"/>
              <pc2:cmMkLst xmlns:pc2="http://schemas.microsoft.com/office/powerpoint/2019/9/main/command">
                <pc:docMk/>
                <pc:sldMk cId="1578555756" sldId="2134804864"/>
                <pc2:cmMk id="{5DA6564C-57B3-4710-837F-CFDDF9EE2610}"/>
              </pc2:cmMkLst>
            </pc226:cmChg>
            <pc226:cmChg xmlns:pc226="http://schemas.microsoft.com/office/powerpoint/2022/06/main/command" chg="mod">
              <pc226:chgData name="Remi SOULISSE" userId="S::rsoulisse@greenflex.com::556de9a5-59e2-46b7-a01d-b9c118fccc3c" providerId="AD" clId="Web-{732F8F57-5189-880D-C266-D2F0BFBD5D7E}" dt="2023-09-20T07:40:19.077" v="12"/>
              <pc2:cmMkLst xmlns:pc2="http://schemas.microsoft.com/office/powerpoint/2019/9/main/command">
                <pc:docMk/>
                <pc:sldMk cId="1578555756" sldId="2134804864"/>
                <pc2:cmMk id="{55CAAA9D-DDEA-48DE-8024-6E434FAEC25F}"/>
              </pc2:cmMkLst>
            </pc226:cmChg>
          </p:ext>
        </pc:extLst>
      </pc:sldChg>
      <pc:sldChg chg="modCm">
        <pc:chgData name="Remi SOULISSE" userId="S::rsoulisse@greenflex.com::556de9a5-59e2-46b7-a01d-b9c118fccc3c" providerId="AD" clId="Web-{732F8F57-5189-880D-C266-D2F0BFBD5D7E}" dt="2023-09-20T07:40:30.124" v="13"/>
        <pc:sldMkLst>
          <pc:docMk/>
          <pc:sldMk cId="1400704932" sldId="2134804865"/>
        </pc:sldMkLst>
        <pc:extLst>
          <p:ext xmlns:p="http://schemas.openxmlformats.org/presentationml/2006/main" uri="{D6D511B9-2390-475A-947B-AFAB55BFBCF1}">
            <pc226:cmChg xmlns:pc226="http://schemas.microsoft.com/office/powerpoint/2022/06/main/command" chg="mod">
              <pc226:chgData name="Remi SOULISSE" userId="S::rsoulisse@greenflex.com::556de9a5-59e2-46b7-a01d-b9c118fccc3c" providerId="AD" clId="Web-{732F8F57-5189-880D-C266-D2F0BFBD5D7E}" dt="2023-09-20T07:40:30.124" v="13"/>
              <pc2:cmMkLst xmlns:pc2="http://schemas.microsoft.com/office/powerpoint/2019/9/main/command">
                <pc:docMk/>
                <pc:sldMk cId="1400704932" sldId="2134804865"/>
                <pc2:cmMk id="{AD0F2EC8-72B8-43D7-AC32-61307C89DA81}"/>
              </pc2:cmMkLst>
            </pc226:cmChg>
          </p:ext>
        </pc:extLst>
      </pc:sldChg>
    </pc:docChg>
  </pc:docChgLst>
  <pc:docChgLst>
    <pc:chgData name="Chiara Stanghini" userId="S::chiara.stanghini_edera.city#ext#@greenflexgroup.onmicrosoft.com::6475939a-9cca-4880-8d1d-bd933536502c" providerId="AD" clId="Web-{818DA0D1-099A-AF78-3FA6-D764976AC295}"/>
    <pc:docChg chg="addSld modSld">
      <pc:chgData name="Chiara Stanghini" userId="S::chiara.stanghini_edera.city#ext#@greenflexgroup.onmicrosoft.com::6475939a-9cca-4880-8d1d-bd933536502c" providerId="AD" clId="Web-{818DA0D1-099A-AF78-3FA6-D764976AC295}" dt="2023-09-25T13:46:13.789" v="3"/>
      <pc:docMkLst>
        <pc:docMk/>
      </pc:docMkLst>
      <pc:sldChg chg="add">
        <pc:chgData name="Chiara Stanghini" userId="S::chiara.stanghini_edera.city#ext#@greenflexgroup.onmicrosoft.com::6475939a-9cca-4880-8d1d-bd933536502c" providerId="AD" clId="Web-{818DA0D1-099A-AF78-3FA6-D764976AC295}" dt="2023-09-25T13:45:53.679" v="0"/>
        <pc:sldMkLst>
          <pc:docMk/>
          <pc:sldMk cId="1113935233" sldId="2134804868"/>
        </pc:sldMkLst>
      </pc:sldChg>
      <pc:sldChg chg="add">
        <pc:chgData name="Chiara Stanghini" userId="S::chiara.stanghini_edera.city#ext#@greenflexgroup.onmicrosoft.com::6475939a-9cca-4880-8d1d-bd933536502c" providerId="AD" clId="Web-{818DA0D1-099A-AF78-3FA6-D764976AC295}" dt="2023-09-25T13:45:53.773" v="1"/>
        <pc:sldMkLst>
          <pc:docMk/>
          <pc:sldMk cId="1279683278" sldId="2134804869"/>
        </pc:sldMkLst>
      </pc:sldChg>
      <pc:sldChg chg="modSp add">
        <pc:chgData name="Chiara Stanghini" userId="S::chiara.stanghini_edera.city#ext#@greenflexgroup.onmicrosoft.com::6475939a-9cca-4880-8d1d-bd933536502c" providerId="AD" clId="Web-{818DA0D1-099A-AF78-3FA6-D764976AC295}" dt="2023-09-25T13:46:13.789" v="3"/>
        <pc:sldMkLst>
          <pc:docMk/>
          <pc:sldMk cId="4094083513" sldId="2134804870"/>
        </pc:sldMkLst>
      </pc:sldChg>
    </pc:docChg>
  </pc:docChgLst>
  <pc:docChgLst>
    <pc:chgData name="Cédric Flécheux" userId="S::cedric.flecheux_buildwise.be#ext#@greenflexgroup.onmicrosoft.com::9d939f12-94e8-46bc-b449-a1bfa19184a3" providerId="AD" clId="Web-{CC14B292-A073-C4A9-AB87-7F04212D0B60}"/>
    <pc:docChg chg="modSld">
      <pc:chgData name="Cédric Flécheux" userId="S::cedric.flecheux_buildwise.be#ext#@greenflexgroup.onmicrosoft.com::9d939f12-94e8-46bc-b449-a1bfa19184a3" providerId="AD" clId="Web-{CC14B292-A073-C4A9-AB87-7F04212D0B60}" dt="2023-10-25T12:43:40.777" v="13" actId="20577"/>
      <pc:docMkLst>
        <pc:docMk/>
      </pc:docMkLst>
      <pc:sldChg chg="modSp">
        <pc:chgData name="Cédric Flécheux" userId="S::cedric.flecheux_buildwise.be#ext#@greenflexgroup.onmicrosoft.com::9d939f12-94e8-46bc-b449-a1bfa19184a3" providerId="AD" clId="Web-{CC14B292-A073-C4A9-AB87-7F04212D0B60}" dt="2023-10-25T12:43:40.777" v="13" actId="20577"/>
        <pc:sldMkLst>
          <pc:docMk/>
          <pc:sldMk cId="308154884" sldId="2134804863"/>
        </pc:sldMkLst>
      </pc:sldChg>
    </pc:docChg>
  </pc:docChgLst>
  <pc:docChgLst>
    <pc:chgData name="Chiara Stanghini" userId="S::chiara.stanghini_edera.city#ext#@greenflexgroup.onmicrosoft.com::6475939a-9cca-4880-8d1d-bd933536502c" providerId="AD" clId="Web-{34416B44-3E2D-4E44-AADA-1DAF176A77A1}"/>
    <pc:docChg chg="delSld">
      <pc:chgData name="Chiara Stanghini" userId="S::chiara.stanghini_edera.city#ext#@greenflexgroup.onmicrosoft.com::6475939a-9cca-4880-8d1d-bd933536502c" providerId="AD" clId="Web-{34416B44-3E2D-4E44-AADA-1DAF176A77A1}" dt="2023-09-05T09:18:55.537" v="1"/>
      <pc:docMkLst>
        <pc:docMk/>
      </pc:docMkLst>
      <pc:sldChg chg="del">
        <pc:chgData name="Chiara Stanghini" userId="S::chiara.stanghini_edera.city#ext#@greenflexgroup.onmicrosoft.com::6475939a-9cca-4880-8d1d-bd933536502c" providerId="AD" clId="Web-{34416B44-3E2D-4E44-AADA-1DAF176A77A1}" dt="2023-09-05T09:18:52.943" v="0"/>
        <pc:sldMkLst>
          <pc:docMk/>
          <pc:sldMk cId="4230169978" sldId="2134804868"/>
        </pc:sldMkLst>
      </pc:sldChg>
      <pc:sldChg chg="del">
        <pc:chgData name="Chiara Stanghini" userId="S::chiara.stanghini_edera.city#ext#@greenflexgroup.onmicrosoft.com::6475939a-9cca-4880-8d1d-bd933536502c" providerId="AD" clId="Web-{34416B44-3E2D-4E44-AADA-1DAF176A77A1}" dt="2023-09-05T09:18:55.537" v="1"/>
        <pc:sldMkLst>
          <pc:docMk/>
          <pc:sldMk cId="617007041" sldId="2134804869"/>
        </pc:sldMkLst>
      </pc:sldChg>
    </pc:docChg>
  </pc:docChgLst>
  <pc:docChgLst>
    <pc:chgData name="Remi SOULISSE" userId="556de9a5-59e2-46b7-a01d-b9c118fccc3c" providerId="ADAL" clId="{8EC1B331-1537-4154-814E-03669D3ADE70}"/>
    <pc:docChg chg="modSld">
      <pc:chgData name="Remi SOULISSE" userId="556de9a5-59e2-46b7-a01d-b9c118fccc3c" providerId="ADAL" clId="{8EC1B331-1537-4154-814E-03669D3ADE70}" dt="2023-10-27T09:22:41.103" v="38" actId="14734"/>
      <pc:docMkLst>
        <pc:docMk/>
      </pc:docMkLst>
      <pc:sldChg chg="modNotesTx">
        <pc:chgData name="Remi SOULISSE" userId="556de9a5-59e2-46b7-a01d-b9c118fccc3c" providerId="ADAL" clId="{8EC1B331-1537-4154-814E-03669D3ADE70}" dt="2023-10-27T09:12:48.230" v="0" actId="6549"/>
        <pc:sldMkLst>
          <pc:docMk/>
          <pc:sldMk cId="3716569532" sldId="2134804829"/>
        </pc:sldMkLst>
      </pc:sldChg>
      <pc:sldChg chg="modSp mod">
        <pc:chgData name="Remi SOULISSE" userId="556de9a5-59e2-46b7-a01d-b9c118fccc3c" providerId="ADAL" clId="{8EC1B331-1537-4154-814E-03669D3ADE70}" dt="2023-10-27T09:17:36.765" v="31" actId="1076"/>
        <pc:sldMkLst>
          <pc:docMk/>
          <pc:sldMk cId="1578555756" sldId="2134804864"/>
        </pc:sldMkLst>
      </pc:sldChg>
      <pc:sldChg chg="modSp mod">
        <pc:chgData name="Remi SOULISSE" userId="556de9a5-59e2-46b7-a01d-b9c118fccc3c" providerId="ADAL" clId="{8EC1B331-1537-4154-814E-03669D3ADE70}" dt="2023-10-27T09:17:10.265" v="30" actId="2"/>
        <pc:sldMkLst>
          <pc:docMk/>
          <pc:sldMk cId="1400704932" sldId="2134804865"/>
        </pc:sldMkLst>
      </pc:sldChg>
      <pc:sldChg chg="addSp modSp mod modNotesTx">
        <pc:chgData name="Remi SOULISSE" userId="556de9a5-59e2-46b7-a01d-b9c118fccc3c" providerId="ADAL" clId="{8EC1B331-1537-4154-814E-03669D3ADE70}" dt="2023-10-27T09:22:41.103" v="38" actId="14734"/>
        <pc:sldMkLst>
          <pc:docMk/>
          <pc:sldMk cId="3109042078" sldId="2134804871"/>
        </pc:sldMkLst>
      </pc:sldChg>
    </pc:docChg>
  </pc:docChgLst>
  <pc:docChgLst>
    <pc:chgData name="Remi SOULISSE" userId="556de9a5-59e2-46b7-a01d-b9c118fccc3c" providerId="ADAL" clId="{71913718-5ED6-419E-B76E-A3D6626A1364}"/>
    <pc:docChg chg="undo custSel addSld modSld">
      <pc:chgData name="Remi SOULISSE" userId="556de9a5-59e2-46b7-a01d-b9c118fccc3c" providerId="ADAL" clId="{71913718-5ED6-419E-B76E-A3D6626A1364}" dt="2023-08-24T07:33:41.215" v="69" actId="108"/>
      <pc:docMkLst>
        <pc:docMk/>
      </pc:docMkLst>
      <pc:sldChg chg="addSp delSp modSp add mod">
        <pc:chgData name="Remi SOULISSE" userId="556de9a5-59e2-46b7-a01d-b9c118fccc3c" providerId="ADAL" clId="{71913718-5ED6-419E-B76E-A3D6626A1364}" dt="2023-08-24T07:33:41.215" v="69" actId="108"/>
        <pc:sldMkLst>
          <pc:docMk/>
          <pc:sldMk cId="1171383821" sldId="2134804867"/>
        </pc:sldMkLst>
      </pc:sldChg>
    </pc:docChg>
  </pc:docChgLst>
  <pc:docChgLst>
    <pc:chgData name="Pierre-Antoine Duffrene" userId="da3f6481-4207-4cde-9346-3340d55b22de" providerId="ADAL" clId="{BF57920E-F4AD-46C7-89E9-C3AD93AD53BD}"/>
    <pc:docChg chg="custSel modSld replTag">
      <pc:chgData name="Pierre-Antoine Duffrene" userId="da3f6481-4207-4cde-9346-3340d55b22de" providerId="ADAL" clId="{BF57920E-F4AD-46C7-89E9-C3AD93AD53BD}" dt="2023-03-28T08:21:32.044" v="1388"/>
      <pc:docMkLst>
        <pc:docMk/>
      </pc:docMkLst>
      <pc:sldChg chg="addSp delSp modSp mod">
        <pc:chgData name="Pierre-Antoine Duffrene" userId="da3f6481-4207-4cde-9346-3340d55b22de" providerId="ADAL" clId="{BF57920E-F4AD-46C7-89E9-C3AD93AD53BD}" dt="2023-03-28T08:21:03.513" v="1143"/>
        <pc:sldMkLst>
          <pc:docMk/>
          <pc:sldMk cId="1832878607" sldId="861"/>
        </pc:sldMkLst>
      </pc:sldChg>
      <pc:sldChg chg="addSp delSp modSp mod">
        <pc:chgData name="Pierre-Antoine Duffrene" userId="da3f6481-4207-4cde-9346-3340d55b22de" providerId="ADAL" clId="{BF57920E-F4AD-46C7-89E9-C3AD93AD53BD}" dt="2023-03-28T08:21:19.987" v="1307"/>
        <pc:sldMkLst>
          <pc:docMk/>
          <pc:sldMk cId="3445552651" sldId="4194"/>
        </pc:sldMkLst>
      </pc:sldChg>
      <pc:sldChg chg="addSp delSp modSp mod addCm modCm">
        <pc:chgData name="Pierre-Antoine Duffrene" userId="da3f6481-4207-4cde-9346-3340d55b22de" providerId="ADAL" clId="{BF57920E-F4AD-46C7-89E9-C3AD93AD53BD}" dt="2023-03-28T08:19:00.052" v="213"/>
        <pc:sldMkLst>
          <pc:docMk/>
          <pc:sldMk cId="3787937814" sldId="5543"/>
        </pc:sldMkLst>
        <pc:extLst>
          <p:ext xmlns:p="http://schemas.openxmlformats.org/presentationml/2006/main" uri="{D6D511B9-2390-475A-947B-AFAB55BFBCF1}">
            <pc226:cmChg xmlns:pc226="http://schemas.microsoft.com/office/powerpoint/2022/06/main/command" chg="add">
              <pc226:chgData name="Pierre-Antoine Duffrene" userId="da3f6481-4207-4cde-9346-3340d55b22de" providerId="ADAL" clId="{BF57920E-F4AD-46C7-89E9-C3AD93AD53BD}" dt="2023-03-28T08:19:00.052" v="213"/>
              <pc2:cmMkLst xmlns:pc2="http://schemas.microsoft.com/office/powerpoint/2019/9/main/command">
                <pc:docMk/>
                <pc:sldMk cId="3787937814" sldId="5543"/>
                <pc2:cmMk id="{62673C21-89A6-45F5-96F7-3A891A73C4FD}"/>
              </pc2:cmMkLst>
              <pc226:cmRplyChg chg="add">
                <pc226:chgData name="Pierre-Antoine Duffrene" userId="da3f6481-4207-4cde-9346-3340d55b22de" providerId="ADAL" clId="{BF57920E-F4AD-46C7-89E9-C3AD93AD53BD}" dt="2023-03-28T08:19:00.052" v="213"/>
                <pc2:cmRplyMkLst xmlns:pc2="http://schemas.microsoft.com/office/powerpoint/2019/9/main/command">
                  <pc:docMk/>
                  <pc:sldMk cId="3787937814" sldId="5543"/>
                  <pc2:cmMk id="{62673C21-89A6-45F5-96F7-3A891A73C4FD}"/>
                  <pc2:cmRplyMk id="{A0537A06-8A81-41CB-8DCB-11B10BE2432C}"/>
                </pc2:cmRplyMkLst>
              </pc226:cmRplyChg>
            </pc226:cmChg>
          </p:ext>
        </pc:extLst>
      </pc:sldChg>
      <pc:sldChg chg="modSp mod">
        <pc:chgData name="Pierre-Antoine Duffrene" userId="da3f6481-4207-4cde-9346-3340d55b22de" providerId="ADAL" clId="{BF57920E-F4AD-46C7-89E9-C3AD93AD53BD}" dt="2023-03-28T08:14:18.233" v="17"/>
        <pc:sldMkLst>
          <pc:docMk/>
          <pc:sldMk cId="3716569532" sldId="2134804829"/>
        </pc:sldMkLst>
      </pc:sldChg>
      <pc:sldChg chg="addSp delSp modSp mod">
        <pc:chgData name="Pierre-Antoine Duffrene" userId="da3f6481-4207-4cde-9346-3340d55b22de" providerId="ADAL" clId="{BF57920E-F4AD-46C7-89E9-C3AD93AD53BD}" dt="2023-03-28T08:21:11.727" v="1213"/>
        <pc:sldMkLst>
          <pc:docMk/>
          <pc:sldMk cId="1516341013" sldId="2134804830"/>
        </pc:sldMkLst>
      </pc:sldChg>
      <pc:sldChg chg="addSp delSp modSp mod">
        <pc:chgData name="Pierre-Antoine Duffrene" userId="da3f6481-4207-4cde-9346-3340d55b22de" providerId="ADAL" clId="{BF57920E-F4AD-46C7-89E9-C3AD93AD53BD}" dt="2023-03-28T08:20:18.350" v="747"/>
        <pc:sldMkLst>
          <pc:docMk/>
          <pc:sldMk cId="1891540165" sldId="2134804832"/>
        </pc:sldMkLst>
      </pc:sldChg>
      <pc:sldChg chg="addSp delSp modSp mod modCm">
        <pc:chgData name="Pierre-Antoine Duffrene" userId="da3f6481-4207-4cde-9346-3340d55b22de" providerId="ADAL" clId="{BF57920E-F4AD-46C7-89E9-C3AD93AD53BD}" dt="2023-03-28T08:15:37.125" v="106" actId="20577"/>
        <pc:sldMkLst>
          <pc:docMk/>
          <pc:sldMk cId="308154884" sldId="2134804863"/>
        </pc:sldMkLst>
        <pc:extLst>
          <p:ext xmlns:p="http://schemas.openxmlformats.org/presentationml/2006/main" uri="{D6D511B9-2390-475A-947B-AFAB55BFBCF1}">
            <pc226:cmChg xmlns:pc226="http://schemas.microsoft.com/office/powerpoint/2022/06/main/command" chg="">
              <pc226:chgData name="Pierre-Antoine Duffrene" userId="da3f6481-4207-4cde-9346-3340d55b22de" providerId="ADAL" clId="{BF57920E-F4AD-46C7-89E9-C3AD93AD53BD}" dt="2023-03-28T08:15:19.415" v="88"/>
              <pc2:cmMkLst xmlns:pc2="http://schemas.microsoft.com/office/powerpoint/2019/9/main/command">
                <pc:docMk/>
                <pc:sldMk cId="308154884" sldId="2134804863"/>
                <pc2:cmMk id="{E4461645-8B20-4D71-BDE7-440D64BD3777}"/>
              </pc2:cmMkLst>
              <pc226:cmRplyChg chg="add">
                <pc226:chgData name="Pierre-Antoine Duffrene" userId="da3f6481-4207-4cde-9346-3340d55b22de" providerId="ADAL" clId="{BF57920E-F4AD-46C7-89E9-C3AD93AD53BD}" dt="2023-03-28T08:15:19.415" v="88"/>
                <pc2:cmRplyMkLst xmlns:pc2="http://schemas.microsoft.com/office/powerpoint/2019/9/main/command">
                  <pc:docMk/>
                  <pc:sldMk cId="308154884" sldId="2134804863"/>
                  <pc2:cmMk id="{E4461645-8B20-4D71-BDE7-440D64BD3777}"/>
                  <pc2:cmRplyMk id="{F729751D-C259-4C28-A65D-32F131165E6A}"/>
                </pc2:cmRplyMkLst>
              </pc226:cmRplyChg>
            </pc226:cmChg>
          </p:ext>
        </pc:extLst>
      </pc:sldChg>
      <pc:sldChg chg="addSp delSp modSp mod modCm">
        <pc:chgData name="Pierre-Antoine Duffrene" userId="da3f6481-4207-4cde-9346-3340d55b22de" providerId="ADAL" clId="{BF57920E-F4AD-46C7-89E9-C3AD93AD53BD}" dt="2023-03-28T08:16:37.343" v="202" actId="20577"/>
        <pc:sldMkLst>
          <pc:docMk/>
          <pc:sldMk cId="1825751004" sldId="2134804864"/>
        </pc:sldMkLst>
        <pc:extLst>
          <p:ext xmlns:p="http://schemas.openxmlformats.org/presentationml/2006/main" uri="{D6D511B9-2390-475A-947B-AFAB55BFBCF1}">
            <pc226:cmChg xmlns:pc226="http://schemas.microsoft.com/office/powerpoint/2022/06/main/command" chg="mod">
              <pc226:chgData name="Pierre-Antoine Duffrene" userId="da3f6481-4207-4cde-9346-3340d55b22de" providerId="ADAL" clId="{BF57920E-F4AD-46C7-89E9-C3AD93AD53BD}" dt="2023-03-28T08:16:25.491" v="189" actId="20577"/>
              <pc2:cmMkLst xmlns:pc2="http://schemas.microsoft.com/office/powerpoint/2019/9/main/command">
                <pc:docMk/>
                <pc:sldMk cId="1825751004" sldId="2134804864"/>
                <pc2:cmMk id="{3B7AE38E-2320-469D-A1CF-AA6CF956361B}"/>
              </pc2:cmMkLst>
            </pc226:cmChg>
          </p:ext>
        </pc:extLst>
      </pc:sldChg>
      <pc:sldChg chg="addSp delSp modSp mod">
        <pc:chgData name="Pierre-Antoine Duffrene" userId="da3f6481-4207-4cde-9346-3340d55b22de" providerId="ADAL" clId="{BF57920E-F4AD-46C7-89E9-C3AD93AD53BD}" dt="2023-03-28T08:19:16.833" v="278"/>
        <pc:sldMkLst>
          <pc:docMk/>
          <pc:sldMk cId="3324387839" sldId="2134804865"/>
        </pc:sldMkLst>
      </pc:sldChg>
      <pc:sldChg chg="addSp delSp modSp mod modCm">
        <pc:chgData name="Pierre-Antoine Duffrene" userId="da3f6481-4207-4cde-9346-3340d55b22de" providerId="ADAL" clId="{BF57920E-F4AD-46C7-89E9-C3AD93AD53BD}" dt="2023-03-28T08:20:03.866" v="526"/>
        <pc:sldMkLst>
          <pc:docMk/>
          <pc:sldMk cId="3581035853" sldId="2134804866"/>
        </pc:sldMkLst>
        <pc:extLst>
          <p:ext xmlns:p="http://schemas.openxmlformats.org/presentationml/2006/main" uri="{D6D511B9-2390-475A-947B-AFAB55BFBCF1}">
            <pc226:cmChg xmlns:pc226="http://schemas.microsoft.com/office/powerpoint/2022/06/main/command" chg="mod">
              <pc226:chgData name="Pierre-Antoine Duffrene" userId="da3f6481-4207-4cde-9346-3340d55b22de" providerId="ADAL" clId="{BF57920E-F4AD-46C7-89E9-C3AD93AD53BD}" dt="2023-03-28T08:20:03.841" v="520" actId="6549"/>
              <pc2:cmMkLst xmlns:pc2="http://schemas.microsoft.com/office/powerpoint/2019/9/main/command">
                <pc:docMk/>
                <pc:sldMk cId="3581035853" sldId="2134804866"/>
                <pc2:cmMk id="{FF6D4E48-7CDD-4E70-A1AC-5CEE8C76463D}"/>
              </pc2:cmMkLst>
            </pc226:cmChg>
          </p:ext>
        </pc:extLst>
      </pc:sldChg>
      <pc:sldChg chg="addSp delSp modSp mod">
        <pc:chgData name="Pierre-Antoine Duffrene" userId="da3f6481-4207-4cde-9346-3340d55b22de" providerId="ADAL" clId="{BF57920E-F4AD-46C7-89E9-C3AD93AD53BD}" dt="2023-03-28T08:20:32.668" v="818"/>
        <pc:sldMkLst>
          <pc:docMk/>
          <pc:sldMk cId="1466948822" sldId="2134804869"/>
        </pc:sldMkLst>
      </pc:sldChg>
      <pc:sldChg chg="addSp delSp modSp mod">
        <pc:chgData name="Pierre-Antoine Duffrene" userId="da3f6481-4207-4cde-9346-3340d55b22de" providerId="ADAL" clId="{BF57920E-F4AD-46C7-89E9-C3AD93AD53BD}" dt="2023-03-28T08:20:44.655" v="1011"/>
        <pc:sldMkLst>
          <pc:docMk/>
          <pc:sldMk cId="705812522" sldId="2134804870"/>
        </pc:sldMkLst>
      </pc:sldChg>
      <pc:sldChg chg="addSp delSp modSp mod">
        <pc:chgData name="Pierre-Antoine Duffrene" userId="da3f6481-4207-4cde-9346-3340d55b22de" providerId="ADAL" clId="{BF57920E-F4AD-46C7-89E9-C3AD93AD53BD}" dt="2023-03-28T08:20:55.099" v="1082"/>
        <pc:sldMkLst>
          <pc:docMk/>
          <pc:sldMk cId="1896888031" sldId="2134804871"/>
        </pc:sldMkLst>
      </pc:sldChg>
      <pc:sldChg chg="addSp delSp modSp mod">
        <pc:chgData name="Pierre-Antoine Duffrene" userId="da3f6481-4207-4cde-9346-3340d55b22de" providerId="ADAL" clId="{BF57920E-F4AD-46C7-89E9-C3AD93AD53BD}" dt="2023-03-28T08:21:32.044" v="1388"/>
        <pc:sldMkLst>
          <pc:docMk/>
          <pc:sldMk cId="3285692956" sldId="2134804873"/>
        </pc:sldMkLst>
      </pc:sldChg>
      <pc:sldChg chg="addSp delSp modSp mod">
        <pc:chgData name="Pierre-Antoine Duffrene" userId="da3f6481-4207-4cde-9346-3340d55b22de" providerId="ADAL" clId="{BF57920E-F4AD-46C7-89E9-C3AD93AD53BD}" dt="2023-03-28T08:19:28.808" v="352"/>
        <pc:sldMkLst>
          <pc:docMk/>
          <pc:sldMk cId="203723799" sldId="2134804875"/>
        </pc:sldMkLst>
      </pc:sldChg>
    </pc:docChg>
  </pc:docChgLst>
  <pc:docChgLst>
    <pc:chgData name="Remi SOULISSE" userId="S::rsoulisse@greenflex.com::556de9a5-59e2-46b7-a01d-b9c118fccc3c" providerId="AD" clId="Web-{E6991F5D-877E-4387-B791-F7EC5F4F2B8C}"/>
    <pc:docChg chg="modSld">
      <pc:chgData name="Remi SOULISSE" userId="S::rsoulisse@greenflex.com::556de9a5-59e2-46b7-a01d-b9c118fccc3c" providerId="AD" clId="Web-{E6991F5D-877E-4387-B791-F7EC5F4F2B8C}" dt="2023-10-10T14:00:25.983" v="0"/>
      <pc:docMkLst>
        <pc:docMk/>
      </pc:docMkLst>
      <pc:sldChg chg="modNotes">
        <pc:chgData name="Remi SOULISSE" userId="S::rsoulisse@greenflex.com::556de9a5-59e2-46b7-a01d-b9c118fccc3c" providerId="AD" clId="Web-{E6991F5D-877E-4387-B791-F7EC5F4F2B8C}" dt="2023-10-10T14:00:25.983" v="0"/>
        <pc:sldMkLst>
          <pc:docMk/>
          <pc:sldMk cId="4094083513" sldId="2134804870"/>
        </pc:sldMkLst>
      </pc:sldChg>
    </pc:docChg>
  </pc:docChgLst>
  <pc:docChgLst>
    <pc:chgData name="Pierre-Antoine Duffrene" userId="da3f6481-4207-4cde-9346-3340d55b22de" providerId="ADAL" clId="{34CBF4AF-9799-4AE0-8A2F-585955AAC0C6}"/>
    <pc:docChg chg="custSel modSld replTag">
      <pc:chgData name="Pierre-Antoine Duffrene" userId="da3f6481-4207-4cde-9346-3340d55b22de" providerId="ADAL" clId="{34CBF4AF-9799-4AE0-8A2F-585955AAC0C6}" dt="2023-08-24T16:04:13.162" v="80"/>
      <pc:docMkLst>
        <pc:docMk/>
      </pc:docMkLst>
      <pc:sldChg chg="modCm">
        <pc:chgData name="Pierre-Antoine Duffrene" userId="da3f6481-4207-4cde-9346-3340d55b22de" providerId="ADAL" clId="{34CBF4AF-9799-4AE0-8A2F-585955AAC0C6}" dt="2023-08-24T15:57:50.098" v="0"/>
        <pc:sldMkLst>
          <pc:docMk/>
          <pc:sldMk cId="1578555756" sldId="2134804864"/>
        </pc:sldMkLst>
        <pc:extLst>
          <p:ext xmlns:p="http://schemas.openxmlformats.org/presentationml/2006/main" uri="{D6D511B9-2390-475A-947B-AFAB55BFBCF1}">
            <pc226:cmChg xmlns:pc226="http://schemas.microsoft.com/office/powerpoint/2022/06/main/command" chg="">
              <pc226:chgData name="Pierre-Antoine Duffrene" userId="da3f6481-4207-4cde-9346-3340d55b22de" providerId="ADAL" clId="{34CBF4AF-9799-4AE0-8A2F-585955AAC0C6}" dt="2023-08-24T15:57:50.098" v="0"/>
              <pc2:cmMkLst xmlns:pc2="http://schemas.microsoft.com/office/powerpoint/2019/9/main/command">
                <pc:docMk/>
                <pc:sldMk cId="1578555756" sldId="2134804864"/>
                <pc2:cmMk id="{5DA6564C-57B3-4710-837F-CFDDF9EE2610}"/>
              </pc2:cmMkLst>
              <pc226:cmRplyChg chg="add">
                <pc226:chgData name="Pierre-Antoine Duffrene" userId="da3f6481-4207-4cde-9346-3340d55b22de" providerId="ADAL" clId="{34CBF4AF-9799-4AE0-8A2F-585955AAC0C6}" dt="2023-08-24T15:57:50.098" v="0"/>
                <pc2:cmRplyMkLst xmlns:pc2="http://schemas.microsoft.com/office/powerpoint/2019/9/main/command">
                  <pc:docMk/>
                  <pc:sldMk cId="1578555756" sldId="2134804864"/>
                  <pc2:cmMk id="{5DA6564C-57B3-4710-837F-CFDDF9EE2610}"/>
                  <pc2:cmRplyMk id="{B8A7EDEC-6F98-4681-8374-8065D9CFE85B}"/>
                </pc2:cmRplyMkLst>
              </pc226:cmRplyChg>
            </pc226:cmChg>
          </p:ext>
        </pc:extLst>
      </pc:sldChg>
      <pc:sldChg chg="addSp delSp modSp mod addCm modCm">
        <pc:chgData name="Pierre-Antoine Duffrene" userId="da3f6481-4207-4cde-9346-3340d55b22de" providerId="ADAL" clId="{34CBF4AF-9799-4AE0-8A2F-585955AAC0C6}" dt="2023-08-24T16:04:13.162" v="80"/>
        <pc:sldMkLst>
          <pc:docMk/>
          <pc:sldMk cId="1400704932" sldId="2134804865"/>
        </pc:sldMkLst>
        <pc:extLst>
          <p:ext xmlns:p="http://schemas.openxmlformats.org/presentationml/2006/main" uri="{D6D511B9-2390-475A-947B-AFAB55BFBCF1}">
            <pc226:cmChg xmlns:pc226="http://schemas.microsoft.com/office/powerpoint/2022/06/main/command" chg="add">
              <pc226:chgData name="Pierre-Antoine Duffrene" userId="da3f6481-4207-4cde-9346-3340d55b22de" providerId="ADAL" clId="{34CBF4AF-9799-4AE0-8A2F-585955AAC0C6}" dt="2023-08-24T16:04:13.162" v="80"/>
              <pc2:cmMkLst xmlns:pc2="http://schemas.microsoft.com/office/powerpoint/2019/9/main/command">
                <pc:docMk/>
                <pc:sldMk cId="1400704932" sldId="2134804865"/>
                <pc2:cmMk id="{AD0F2EC8-72B8-43D7-AC32-61307C89DA81}"/>
              </pc2:cmMkLst>
              <pc226:cmRplyChg chg="add">
                <pc226:chgData name="Pierre-Antoine Duffrene" userId="da3f6481-4207-4cde-9346-3340d55b22de" providerId="ADAL" clId="{34CBF4AF-9799-4AE0-8A2F-585955AAC0C6}" dt="2023-08-24T16:04:13.162" v="80"/>
                <pc2:cmRplyMkLst xmlns:pc2="http://schemas.microsoft.com/office/powerpoint/2019/9/main/command">
                  <pc:docMk/>
                  <pc:sldMk cId="1400704932" sldId="2134804865"/>
                  <pc2:cmMk id="{AD0F2EC8-72B8-43D7-AC32-61307C89DA81}"/>
                  <pc2:cmRplyMk id="{E0AE9D95-8DCF-4A45-A0A1-C78A05BA72A6}"/>
                </pc2:cmRplyMkLst>
              </pc226:cmRplyChg>
            </pc226:cmChg>
          </p:ext>
        </pc:extLst>
      </pc:sldChg>
    </pc:docChg>
  </pc:docChgLst>
  <pc:docChgLst>
    <pc:chgData name="Remi SOULISSE" userId="S::rsoulisse@greenflex.com::556de9a5-59e2-46b7-a01d-b9c118fccc3c" providerId="AD" clId="Web-{9829F861-40E4-8CAC-6451-11FAA63DB277}"/>
    <pc:docChg chg="modSld">
      <pc:chgData name="Remi SOULISSE" userId="S::rsoulisse@greenflex.com::556de9a5-59e2-46b7-a01d-b9c118fccc3c" providerId="AD" clId="Web-{9829F861-40E4-8CAC-6451-11FAA63DB277}" dt="2023-04-05T14:56:01.454" v="3" actId="20577"/>
      <pc:docMkLst>
        <pc:docMk/>
      </pc:docMkLst>
      <pc:sldChg chg="modSp">
        <pc:chgData name="Remi SOULISSE" userId="S::rsoulisse@greenflex.com::556de9a5-59e2-46b7-a01d-b9c118fccc3c" providerId="AD" clId="Web-{9829F861-40E4-8CAC-6451-11FAA63DB277}" dt="2023-04-05T14:56:01.454" v="3" actId="20577"/>
        <pc:sldMkLst>
          <pc:docMk/>
          <pc:sldMk cId="1400704932" sldId="2134804865"/>
        </pc:sldMkLst>
      </pc:sldChg>
      <pc:sldChg chg="modSp">
        <pc:chgData name="Remi SOULISSE" userId="S::rsoulisse@greenflex.com::556de9a5-59e2-46b7-a01d-b9c118fccc3c" providerId="AD" clId="Web-{9829F861-40E4-8CAC-6451-11FAA63DB277}" dt="2023-04-05T14:55:41.516" v="2" actId="20577"/>
        <pc:sldMkLst>
          <pc:docMk/>
          <pc:sldMk cId="2579865514" sldId="2134804866"/>
        </pc:sldMkLst>
      </pc:sldChg>
    </pc:docChg>
  </pc:docChgLst>
  <pc:docChgLst>
    <pc:chgData name="Chiara Stanghini" userId="S::chiara.stanghini_edera.city#ext#@greenflexgroup.onmicrosoft.com::6475939a-9cca-4880-8d1d-bd933536502c" providerId="AD" clId="Web-{12F5B086-D525-4ABC-BD80-961FD475E2F4}"/>
    <pc:docChg chg="mod">
      <pc:chgData name="Chiara Stanghini" userId="S::chiara.stanghini_edera.city#ext#@greenflexgroup.onmicrosoft.com::6475939a-9cca-4880-8d1d-bd933536502c" providerId="AD" clId="Web-{12F5B086-D525-4ABC-BD80-961FD475E2F4}" dt="2023-04-20T13:59:28.382" v="2"/>
      <pc:docMkLst>
        <pc:docMk/>
      </pc:docMkLst>
      <pc:sldChg chg="addCm">
        <pc:chgData name="Chiara Stanghini" userId="S::chiara.stanghini_edera.city#ext#@greenflexgroup.onmicrosoft.com::6475939a-9cca-4880-8d1d-bd933536502c" providerId="AD" clId="Web-{12F5B086-D525-4ABC-BD80-961FD475E2F4}" dt="2023-04-20T13:59:28.382" v="2"/>
        <pc:sldMkLst>
          <pc:docMk/>
          <pc:sldMk cId="1578555756" sldId="2134804864"/>
        </pc:sldMkLst>
        <pc:extLst>
          <p:ext xmlns:p="http://schemas.openxmlformats.org/presentationml/2006/main" uri="{D6D511B9-2390-475A-947B-AFAB55BFBCF1}">
            <pc226:cmChg xmlns:pc226="http://schemas.microsoft.com/office/powerpoint/2022/06/main/command" chg="add">
              <pc226:chgData name="Chiara Stanghini" userId="S::chiara.stanghini_edera.city#ext#@greenflexgroup.onmicrosoft.com::6475939a-9cca-4880-8d1d-bd933536502c" providerId="AD" clId="Web-{12F5B086-D525-4ABC-BD80-961FD475E2F4}" dt="2023-04-20T13:59:28.382" v="2"/>
              <pc2:cmMkLst xmlns:pc2="http://schemas.microsoft.com/office/powerpoint/2019/9/main/command">
                <pc:docMk/>
                <pc:sldMk cId="1578555756" sldId="2134804864"/>
                <pc2:cmMk id="{5DA6564C-57B3-4710-837F-CFDDF9EE2610}"/>
              </pc2:cmMkLst>
            </pc226:cmChg>
            <pc226:cmChg xmlns:pc226="http://schemas.microsoft.com/office/powerpoint/2022/06/main/command" chg="add">
              <pc226:chgData name="Chiara Stanghini" userId="S::chiara.stanghini_edera.city#ext#@greenflexgroup.onmicrosoft.com::6475939a-9cca-4880-8d1d-bd933536502c" providerId="AD" clId="Web-{12F5B086-D525-4ABC-BD80-961FD475E2F4}" dt="2023-04-20T13:58:30.911" v="1"/>
              <pc2:cmMkLst xmlns:pc2="http://schemas.microsoft.com/office/powerpoint/2019/9/main/command">
                <pc:docMk/>
                <pc:sldMk cId="1578555756" sldId="2134804864"/>
                <pc2:cmMk id="{55CAAA9D-DDEA-48DE-8024-6E434FAEC25F}"/>
              </pc2:cmMkLst>
            </pc226:cmChg>
          </p:ext>
        </pc:extLst>
      </pc:sldChg>
    </pc:docChg>
  </pc:docChgLst>
  <pc:docChgLst>
    <pc:chgData name="Remi SOULISSE" userId="556de9a5-59e2-46b7-a01d-b9c118fccc3c" providerId="ADAL" clId="{97717DF6-688C-4120-9CB7-3423563E0E36}"/>
    <pc:docChg chg="undo custSel delSld modSld sldOrd delSection modSection">
      <pc:chgData name="Remi SOULISSE" userId="556de9a5-59e2-46b7-a01d-b9c118fccc3c" providerId="ADAL" clId="{97717DF6-688C-4120-9CB7-3423563E0E36}" dt="2025-06-30T07:48:15.258" v="16" actId="20577"/>
      <pc:docMkLst>
        <pc:docMk/>
      </pc:docMkLst>
      <pc:sldChg chg="modSp mod">
        <pc:chgData name="Remi SOULISSE" userId="556de9a5-59e2-46b7-a01d-b9c118fccc3c" providerId="ADAL" clId="{97717DF6-688C-4120-9CB7-3423563E0E36}" dt="2025-06-25T07:27:41.674" v="14" actId="20577"/>
        <pc:sldMkLst>
          <pc:docMk/>
          <pc:sldMk cId="3716569532" sldId="2134804829"/>
        </pc:sldMkLst>
        <pc:spChg chg="mod">
          <ac:chgData name="Remi SOULISSE" userId="556de9a5-59e2-46b7-a01d-b9c118fccc3c" providerId="ADAL" clId="{97717DF6-688C-4120-9CB7-3423563E0E36}" dt="2025-06-25T07:27:41.674" v="14" actId="20577"/>
          <ac:spMkLst>
            <pc:docMk/>
            <pc:sldMk cId="3716569532" sldId="2134804829"/>
            <ac:spMk id="6" creationId="{4F7551E4-E314-1FDA-FBFC-8436267B9BDA}"/>
          </ac:spMkLst>
        </pc:spChg>
      </pc:sldChg>
      <pc:sldChg chg="del">
        <pc:chgData name="Remi SOULISSE" userId="556de9a5-59e2-46b7-a01d-b9c118fccc3c" providerId="ADAL" clId="{97717DF6-688C-4120-9CB7-3423563E0E36}" dt="2025-06-25T07:28:10.985" v="15" actId="47"/>
        <pc:sldMkLst>
          <pc:docMk/>
          <pc:sldMk cId="1171383821" sldId="2134804867"/>
        </pc:sldMkLst>
      </pc:sldChg>
      <pc:sldChg chg="del mod ord modShow">
        <pc:chgData name="Remi SOULISSE" userId="556de9a5-59e2-46b7-a01d-b9c118fccc3c" providerId="ADAL" clId="{97717DF6-688C-4120-9CB7-3423563E0E36}" dt="2025-06-25T07:28:10.985" v="15" actId="47"/>
        <pc:sldMkLst>
          <pc:docMk/>
          <pc:sldMk cId="1113935233" sldId="2134804868"/>
        </pc:sldMkLst>
      </pc:sldChg>
      <pc:sldChg chg="del">
        <pc:chgData name="Remi SOULISSE" userId="556de9a5-59e2-46b7-a01d-b9c118fccc3c" providerId="ADAL" clId="{97717DF6-688C-4120-9CB7-3423563E0E36}" dt="2025-06-25T07:28:10.985" v="15" actId="47"/>
        <pc:sldMkLst>
          <pc:docMk/>
          <pc:sldMk cId="4094083513" sldId="2134804870"/>
        </pc:sldMkLst>
      </pc:sldChg>
      <pc:sldChg chg="modNotesTx">
        <pc:chgData name="Remi SOULISSE" userId="556de9a5-59e2-46b7-a01d-b9c118fccc3c" providerId="ADAL" clId="{97717DF6-688C-4120-9CB7-3423563E0E36}" dt="2025-06-30T07:48:15.258" v="16" actId="20577"/>
        <pc:sldMkLst>
          <pc:docMk/>
          <pc:sldMk cId="3109042078" sldId="213480487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54B0B5-5D89-4918-9BEF-96FD5E2CD010}" type="datetimeFigureOut">
              <a:rPr lang="fr-FR" smtClean="0"/>
              <a:t>30/06/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5AFFA7-E337-4BAD-988C-0CC0BAED7DB6}" type="slidenum">
              <a:rPr lang="fr-FR" smtClean="0"/>
              <a:t>‹N°›</a:t>
            </a:fld>
            <a:endParaRPr lang="fr-FR"/>
          </a:p>
        </p:txBody>
      </p:sp>
    </p:spTree>
    <p:extLst>
      <p:ext uri="{BB962C8B-B14F-4D97-AF65-F5344CB8AC3E}">
        <p14:creationId xmlns:p14="http://schemas.microsoft.com/office/powerpoint/2010/main" val="3642964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2284908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35AFFA7-E337-4BAD-988C-0CC0BAED7DB6}" type="slidenum">
              <a:rPr lang="fr-FR" smtClean="0"/>
              <a:t>5</a:t>
            </a:fld>
            <a:endParaRPr lang="fr-FR" dirty="0"/>
          </a:p>
        </p:txBody>
      </p:sp>
    </p:spTree>
    <p:extLst>
      <p:ext uri="{BB962C8B-B14F-4D97-AF65-F5344CB8AC3E}">
        <p14:creationId xmlns:p14="http://schemas.microsoft.com/office/powerpoint/2010/main" val="3211797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eg"/><Relationship Id="rId7" Type="http://schemas.openxmlformats.org/officeDocument/2006/relationships/image" Target="../media/image20.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image" Target="../media/image19.jpeg"/><Relationship Id="rId10" Type="http://schemas.openxmlformats.org/officeDocument/2006/relationships/image" Target="../media/image23.png"/><Relationship Id="rId4" Type="http://schemas.openxmlformats.org/officeDocument/2006/relationships/image" Target="../media/image18.jpeg"/><Relationship Id="rId9" Type="http://schemas.openxmlformats.org/officeDocument/2006/relationships/image" Target="../media/image2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oleObject" Target="../embeddings/oleObject2.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Foto - horizontaal">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E637567-35B9-4C98-9E22-1AFF5A6EA139}"/>
              </a:ext>
            </a:extLst>
          </p:cNvPr>
          <p:cNvSpPr>
            <a:spLocks noGrp="1"/>
          </p:cNvSpPr>
          <p:nvPr>
            <p:ph type="body" sz="quarter" idx="14" hasCustomPrompt="1"/>
          </p:nvPr>
        </p:nvSpPr>
        <p:spPr>
          <a:xfrm>
            <a:off x="490026" y="1593850"/>
            <a:ext cx="2105025" cy="358775"/>
          </a:xfrm>
        </p:spPr>
        <p:txBody>
          <a:bodyPr anchor="t">
            <a:noAutofit/>
          </a:bodyPr>
          <a:lstStyle>
            <a:lvl1pPr marL="0" indent="0" algn="ct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lvl="0"/>
            <a:r>
              <a:rPr lang="fr-FR"/>
              <a:t>Titre</a:t>
            </a:r>
          </a:p>
        </p:txBody>
      </p:sp>
      <p:sp>
        <p:nvSpPr>
          <p:cNvPr id="130" name="Dianummer"/>
          <p:cNvSpPr>
            <a:spLocks noGrp="1"/>
          </p:cNvSpPr>
          <p:nvPr>
            <p:ph type="sldNum" sz="quarter" idx="2"/>
          </p:nvPr>
        </p:nvSpPr>
        <p:spPr>
          <a:prstGeom prst="rect">
            <a:avLst/>
          </a:prstGeom>
        </p:spPr>
        <p:txBody>
          <a:bodyPr/>
          <a:lstStyle/>
          <a:p>
            <a:fld id="{D2D4539B-BA63-4FDA-A896-DC7ADFB317E4}" type="slidenum">
              <a:rPr lang="fr-FR" smtClean="0"/>
              <a:t>‹N°›</a:t>
            </a:fld>
            <a:endParaRPr lang="fr-FR"/>
          </a:p>
        </p:txBody>
      </p:sp>
      <p:cxnSp>
        <p:nvCxnSpPr>
          <p:cNvPr id="6" name="Connecteur droit 5">
            <a:extLst>
              <a:ext uri="{FF2B5EF4-FFF2-40B4-BE49-F238E27FC236}">
                <a16:creationId xmlns:a16="http://schemas.microsoft.com/office/drawing/2014/main" id="{5ACEB8C8-C132-4BAD-9C95-C2133479645E}"/>
              </a:ext>
            </a:extLst>
          </p:cNvPr>
          <p:cNvCxnSpPr>
            <a:cxnSpLocks/>
          </p:cNvCxnSpPr>
          <p:nvPr/>
        </p:nvCxnSpPr>
        <p:spPr>
          <a:xfrm>
            <a:off x="490030" y="1963685"/>
            <a:ext cx="2105025"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iteltekst">
            <a:extLst>
              <a:ext uri="{FF2B5EF4-FFF2-40B4-BE49-F238E27FC236}">
                <a16:creationId xmlns:a16="http://schemas.microsoft.com/office/drawing/2014/main" id="{4FBBF3A7-9AF9-45B1-A84E-8B36459F06EA}"/>
              </a:ext>
            </a:extLst>
          </p:cNvPr>
          <p:cNvSpPr>
            <a:spLocks noGrp="1"/>
          </p:cNvSpPr>
          <p:nvPr>
            <p:ph type="title" hasCustomPrompt="1"/>
          </p:nvPr>
        </p:nvSpPr>
        <p:spPr>
          <a:xfrm>
            <a:off x="850488" y="310560"/>
            <a:ext cx="10970037" cy="912185"/>
          </a:xfrm>
          <a:prstGeom prst="rect">
            <a:avLst/>
          </a:prstGeom>
        </p:spPr>
        <p:txBody>
          <a:bodyPr>
            <a:noAutofit/>
          </a:bodyPr>
          <a:lstStyle>
            <a:lvl1pPr marL="0" marR="0" indent="0" algn="l" defTabSz="412750" eaLnBrk="1" latinLnBrk="0" hangingPunct="1">
              <a:lnSpc>
                <a:spcPct val="100000"/>
              </a:lnSpc>
              <a:spcBef>
                <a:spcPts val="0"/>
              </a:spcBef>
              <a:spcAft>
                <a:spcPts val="0"/>
              </a:spcAft>
              <a:buClrTx/>
              <a:buSzTx/>
              <a:buFontTx/>
              <a:buNone/>
              <a:tabLst/>
              <a:defRPr sz="3600" b="1" i="0" u="none" strike="noStrike" cap="none" spc="0" baseline="0" dirty="0">
                <a:ln>
                  <a:noFill/>
                </a:ln>
                <a:solidFill>
                  <a:srgbClr val="313234"/>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a:t>
            </a:r>
            <a:endParaRPr/>
          </a:p>
        </p:txBody>
      </p:sp>
      <p:sp>
        <p:nvSpPr>
          <p:cNvPr id="16" name="&gt;">
            <a:extLst>
              <a:ext uri="{FF2B5EF4-FFF2-40B4-BE49-F238E27FC236}">
                <a16:creationId xmlns:a16="http://schemas.microsoft.com/office/drawing/2014/main" id="{573D481C-53AE-4DD8-9D05-F45FF7D50E48}"/>
              </a:ext>
            </a:extLst>
          </p:cNvPr>
          <p:cNvSpPr/>
          <p:nvPr/>
        </p:nvSpPr>
        <p:spPr>
          <a:xfrm>
            <a:off x="325474" y="310560"/>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t>&gt;</a:t>
            </a:r>
          </a:p>
        </p:txBody>
      </p:sp>
      <p:sp>
        <p:nvSpPr>
          <p:cNvPr id="22" name="Espace réservé du texte 6">
            <a:extLst>
              <a:ext uri="{FF2B5EF4-FFF2-40B4-BE49-F238E27FC236}">
                <a16:creationId xmlns:a16="http://schemas.microsoft.com/office/drawing/2014/main" id="{233342FB-61A0-4A18-8977-2BE70566A4D3}"/>
              </a:ext>
            </a:extLst>
          </p:cNvPr>
          <p:cNvSpPr>
            <a:spLocks noGrp="1"/>
          </p:cNvSpPr>
          <p:nvPr>
            <p:ph type="body" sz="quarter" idx="12" hasCustomPrompt="1"/>
          </p:nvPr>
        </p:nvSpPr>
        <p:spPr>
          <a:xfrm>
            <a:off x="382440" y="2277957"/>
            <a:ext cx="5358680" cy="4019823"/>
          </a:xfrm>
        </p:spPr>
        <p:txBody>
          <a:bodyPr anchor="t">
            <a:normAutofit/>
          </a:bodyPr>
          <a:lstStyle>
            <a:lvl1pPr marL="0" indent="0">
              <a:buNone/>
              <a:defRPr lang="fr-FR" sz="20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sp>
        <p:nvSpPr>
          <p:cNvPr id="23" name="Espace réservé du texte 6">
            <a:extLst>
              <a:ext uri="{FF2B5EF4-FFF2-40B4-BE49-F238E27FC236}">
                <a16:creationId xmlns:a16="http://schemas.microsoft.com/office/drawing/2014/main" id="{F298E4F2-90B4-4DF6-A065-D4CBCF86677B}"/>
              </a:ext>
            </a:extLst>
          </p:cNvPr>
          <p:cNvSpPr>
            <a:spLocks noGrp="1"/>
          </p:cNvSpPr>
          <p:nvPr>
            <p:ph type="body" sz="quarter" idx="13" hasCustomPrompt="1"/>
          </p:nvPr>
        </p:nvSpPr>
        <p:spPr>
          <a:xfrm>
            <a:off x="6461845" y="2277957"/>
            <a:ext cx="5358680" cy="4019823"/>
          </a:xfrm>
        </p:spPr>
        <p:txBody>
          <a:bodyPr anchor="t">
            <a:normAutofit/>
          </a:bodyPr>
          <a:lstStyle>
            <a:lvl1pPr marL="0" indent="0">
              <a:buNone/>
              <a:defRPr lang="fr-FR" sz="20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sp>
        <p:nvSpPr>
          <p:cNvPr id="17" name="Espace réservé du texte 2">
            <a:extLst>
              <a:ext uri="{FF2B5EF4-FFF2-40B4-BE49-F238E27FC236}">
                <a16:creationId xmlns:a16="http://schemas.microsoft.com/office/drawing/2014/main" id="{66C4F4FE-D480-45D0-8B8B-B8122444D3CA}"/>
              </a:ext>
            </a:extLst>
          </p:cNvPr>
          <p:cNvSpPr>
            <a:spLocks noGrp="1"/>
          </p:cNvSpPr>
          <p:nvPr>
            <p:ph type="body" sz="quarter" idx="15" hasCustomPrompt="1"/>
          </p:nvPr>
        </p:nvSpPr>
        <p:spPr>
          <a:xfrm>
            <a:off x="9325253" y="1610525"/>
            <a:ext cx="2105025" cy="358775"/>
          </a:xfrm>
        </p:spPr>
        <p:txBody>
          <a:bodyPr anchor="t">
            <a:noAutofit/>
          </a:bodyPr>
          <a:lstStyle>
            <a:lvl1pPr marL="0" indent="0" algn="ct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lvl="0"/>
            <a:r>
              <a:rPr lang="fr-FR"/>
              <a:t>Titre</a:t>
            </a:r>
          </a:p>
        </p:txBody>
      </p:sp>
      <p:cxnSp>
        <p:nvCxnSpPr>
          <p:cNvPr id="18" name="Connecteur droit 17">
            <a:extLst>
              <a:ext uri="{FF2B5EF4-FFF2-40B4-BE49-F238E27FC236}">
                <a16:creationId xmlns:a16="http://schemas.microsoft.com/office/drawing/2014/main" id="{E310BE1B-7739-4BAF-A5EF-E006B7EC849A}"/>
              </a:ext>
            </a:extLst>
          </p:cNvPr>
          <p:cNvCxnSpPr>
            <a:cxnSpLocks/>
          </p:cNvCxnSpPr>
          <p:nvPr userDrawn="1"/>
        </p:nvCxnSpPr>
        <p:spPr>
          <a:xfrm>
            <a:off x="3435106" y="1952625"/>
            <a:ext cx="2105025"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E31DB205-2B5E-43F6-AF29-C93229D9F5B2}"/>
              </a:ext>
            </a:extLst>
          </p:cNvPr>
          <p:cNvCxnSpPr>
            <a:cxnSpLocks/>
          </p:cNvCxnSpPr>
          <p:nvPr userDrawn="1"/>
        </p:nvCxnSpPr>
        <p:spPr>
          <a:xfrm>
            <a:off x="6380182" y="1963685"/>
            <a:ext cx="2105025"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D26DCFF-30A8-4047-B337-F345C6F2F43F}"/>
              </a:ext>
            </a:extLst>
          </p:cNvPr>
          <p:cNvCxnSpPr>
            <a:cxnSpLocks/>
          </p:cNvCxnSpPr>
          <p:nvPr userDrawn="1"/>
        </p:nvCxnSpPr>
        <p:spPr>
          <a:xfrm>
            <a:off x="9325257" y="1963685"/>
            <a:ext cx="2105025"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Espace réservé du texte 2">
            <a:extLst>
              <a:ext uri="{FF2B5EF4-FFF2-40B4-BE49-F238E27FC236}">
                <a16:creationId xmlns:a16="http://schemas.microsoft.com/office/drawing/2014/main" id="{C81578C9-A1F8-4831-BF1E-9F42BC8C649E}"/>
              </a:ext>
            </a:extLst>
          </p:cNvPr>
          <p:cNvSpPr>
            <a:spLocks noGrp="1"/>
          </p:cNvSpPr>
          <p:nvPr>
            <p:ph type="body" sz="quarter" idx="16" hasCustomPrompt="1"/>
          </p:nvPr>
        </p:nvSpPr>
        <p:spPr>
          <a:xfrm>
            <a:off x="6380181" y="1610525"/>
            <a:ext cx="2105025" cy="358775"/>
          </a:xfrm>
        </p:spPr>
        <p:txBody>
          <a:bodyPr anchor="t">
            <a:noAutofit/>
          </a:bodyPr>
          <a:lstStyle>
            <a:lvl1pPr marL="0" indent="0" algn="ct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lvl="0"/>
            <a:r>
              <a:rPr lang="fr-FR"/>
              <a:t>Titre</a:t>
            </a:r>
          </a:p>
        </p:txBody>
      </p:sp>
      <p:sp>
        <p:nvSpPr>
          <p:cNvPr id="26" name="Espace réservé du texte 2">
            <a:extLst>
              <a:ext uri="{FF2B5EF4-FFF2-40B4-BE49-F238E27FC236}">
                <a16:creationId xmlns:a16="http://schemas.microsoft.com/office/drawing/2014/main" id="{DCF0965D-CB76-44F6-8281-C49DA8B5B97D}"/>
              </a:ext>
            </a:extLst>
          </p:cNvPr>
          <p:cNvSpPr>
            <a:spLocks noGrp="1"/>
          </p:cNvSpPr>
          <p:nvPr>
            <p:ph type="body" sz="quarter" idx="17" hasCustomPrompt="1"/>
          </p:nvPr>
        </p:nvSpPr>
        <p:spPr>
          <a:xfrm>
            <a:off x="3435103" y="1593850"/>
            <a:ext cx="2105025" cy="358775"/>
          </a:xfrm>
        </p:spPr>
        <p:txBody>
          <a:bodyPr anchor="t">
            <a:noAutofit/>
          </a:bodyPr>
          <a:lstStyle>
            <a:lvl1pPr marL="0" indent="0" algn="ct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lvl="0"/>
            <a:r>
              <a:rPr lang="fr-FR"/>
              <a:t>Titre</a:t>
            </a:r>
          </a:p>
        </p:txBody>
      </p:sp>
      <p:pic>
        <p:nvPicPr>
          <p:cNvPr id="29" name="Image 28">
            <a:extLst>
              <a:ext uri="{FF2B5EF4-FFF2-40B4-BE49-F238E27FC236}">
                <a16:creationId xmlns:a16="http://schemas.microsoft.com/office/drawing/2014/main" id="{366373FF-59A8-4628-A678-BB599875EEAC}"/>
              </a:ext>
            </a:extLst>
          </p:cNvPr>
          <p:cNvPicPr>
            <a:picLocks noChangeAspect="1"/>
          </p:cNvPicPr>
          <p:nvPr userDrawn="1"/>
        </p:nvPicPr>
        <p:blipFill rotWithShape="1">
          <a:blip r:embed="rId2"/>
          <a:srcRect l="20631" t="48022" r="35363" b="18739"/>
          <a:stretch/>
        </p:blipFill>
        <p:spPr>
          <a:xfrm>
            <a:off x="10619860" y="6437040"/>
            <a:ext cx="847709" cy="360000"/>
          </a:xfrm>
          <a:prstGeom prst="rect">
            <a:avLst/>
          </a:prstGeom>
        </p:spPr>
      </p:pic>
      <p:pic>
        <p:nvPicPr>
          <p:cNvPr id="30" name="Image 29">
            <a:extLst>
              <a:ext uri="{FF2B5EF4-FFF2-40B4-BE49-F238E27FC236}">
                <a16:creationId xmlns:a16="http://schemas.microsoft.com/office/drawing/2014/main" id="{3FD166C7-294B-4A8C-BDD5-E158EC2697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37560" y="6437040"/>
            <a:ext cx="837236" cy="360000"/>
          </a:xfrm>
          <a:prstGeom prst="rect">
            <a:avLst/>
          </a:prstGeom>
        </p:spPr>
      </p:pic>
      <p:pic>
        <p:nvPicPr>
          <p:cNvPr id="27" name="Afbeelding 7">
            <a:extLst>
              <a:ext uri="{FF2B5EF4-FFF2-40B4-BE49-F238E27FC236}">
                <a16:creationId xmlns:a16="http://schemas.microsoft.com/office/drawing/2014/main" id="{33907DBE-16FB-40C0-A18A-EE4C776390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7204" y="6447342"/>
            <a:ext cx="760830" cy="349698"/>
          </a:xfrm>
          <a:prstGeom prst="rect">
            <a:avLst/>
          </a:prstGeom>
        </p:spPr>
      </p:pic>
      <p:pic>
        <p:nvPicPr>
          <p:cNvPr id="28" name="Picture 2">
            <a:extLst>
              <a:ext uri="{FF2B5EF4-FFF2-40B4-BE49-F238E27FC236}">
                <a16:creationId xmlns:a16="http://schemas.microsoft.com/office/drawing/2014/main" id="{CF91C97E-B2C0-4F29-A952-1F0D671E4E2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8430" y="6366295"/>
            <a:ext cx="1170742" cy="389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3820536"/>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1D180A-1B4C-4D73-9FAD-757B793CC9B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9E3335A4-4EEE-4358-917C-5E9B18450107}"/>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2D21B915-7808-4711-9DB4-07098E06526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E9868D42-09AB-4990-94D7-BFEAAFDD4E7F}"/>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6" name="Espace réservé du pied de page 5">
            <a:extLst>
              <a:ext uri="{FF2B5EF4-FFF2-40B4-BE49-F238E27FC236}">
                <a16:creationId xmlns:a16="http://schemas.microsoft.com/office/drawing/2014/main" id="{61064ACD-C230-4E15-8E98-C55C0F70B6D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BF1C2EE-1662-4F49-A4AE-3A9AD901111D}"/>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3449644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044F38-593B-477D-A4C5-4871E5DCCBF4}"/>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3B436084-92A7-46DF-BDC3-EDEEBEDD28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01B527B-1321-4EBE-9F3F-7B0E0D5E4240}"/>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D8EC3DD2-C037-4423-A589-D551FF02B7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F32E62C3-4FC9-4278-BDA0-92C1531926EE}"/>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1618C62-4B4A-493B-991C-A098B05A0DF8}"/>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8" name="Espace réservé du pied de page 7">
            <a:extLst>
              <a:ext uri="{FF2B5EF4-FFF2-40B4-BE49-F238E27FC236}">
                <a16:creationId xmlns:a16="http://schemas.microsoft.com/office/drawing/2014/main" id="{DC367BDA-08F7-40E2-88CC-F1AA08547619}"/>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DE0D226E-3B88-43C7-87C9-3D21EA26AA8D}"/>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4246210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DE6AF5-4F75-4D10-A0F8-829177D2C1CE}"/>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D3B11DD-0704-4844-A911-CBD5728368BC}"/>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4" name="Espace réservé du pied de page 3">
            <a:extLst>
              <a:ext uri="{FF2B5EF4-FFF2-40B4-BE49-F238E27FC236}">
                <a16:creationId xmlns:a16="http://schemas.microsoft.com/office/drawing/2014/main" id="{0732C22E-4A77-4096-9B89-4F61F868431F}"/>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B76BBCFA-7F6B-487A-94C5-BC2131CC122B}"/>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2854390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D199A5B-BD9C-4E22-8DEC-4580A8376463}"/>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3" name="Espace réservé du pied de page 2">
            <a:extLst>
              <a:ext uri="{FF2B5EF4-FFF2-40B4-BE49-F238E27FC236}">
                <a16:creationId xmlns:a16="http://schemas.microsoft.com/office/drawing/2014/main" id="{0BBA16B9-565C-4622-83C4-052FD277A23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889CEDA5-63A7-4017-9CB2-CEB6A75E7737}"/>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7561246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F0DC7F-B35E-4B03-951B-6467273C9FE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235F7517-CA7A-4FC4-9AD7-1EE42E11C7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7E844CCA-86C2-4AF5-B96D-DCE634FDD0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40D5FF6-6814-499C-B88C-E044A1493356}"/>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6" name="Espace réservé du pied de page 5">
            <a:extLst>
              <a:ext uri="{FF2B5EF4-FFF2-40B4-BE49-F238E27FC236}">
                <a16:creationId xmlns:a16="http://schemas.microsoft.com/office/drawing/2014/main" id="{9D3EA2C8-AB69-4A7B-8BB2-A5069257F92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D92E0A6-C550-4DD6-A0CC-6091E0A7DB1D}"/>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4002897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C45DA0-008E-41CD-8A0A-8C80E3A9931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962197F-B2B7-4638-BED1-0139A1B921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023386E9-CBC5-4591-A6EC-0B958E85A6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1BF9AA1-458E-4AD9-8A2E-B07D3FEE408B}"/>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6" name="Espace réservé du pied de page 5">
            <a:extLst>
              <a:ext uri="{FF2B5EF4-FFF2-40B4-BE49-F238E27FC236}">
                <a16:creationId xmlns:a16="http://schemas.microsoft.com/office/drawing/2014/main" id="{3731B23F-EFCF-41ED-873B-B30B7111933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B7B8839-DEB5-45FD-939E-C2C5B946914B}"/>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172098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451BFC-6DDF-4339-9D50-5E6382E14DFC}"/>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72570970-D055-4C23-8741-1D26BE39B587}"/>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E644F2F-63EC-4FFB-AE40-61F99A164DB8}"/>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B2F0BD62-C00F-4A7E-A031-93E44E6930B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DF4FE6B-CFCA-4797-9EE6-3FAD08A28D38}"/>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1085964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FF4A469-86E4-4727-B49F-D67BDE85568E}"/>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3103CBA-05B7-4FF1-B8BE-9310D8F11824}"/>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89FA927-AE06-4C42-BC3C-AA2EA6E53315}"/>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0F4CD25F-9B5C-4F38-956F-A59425F8F6D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C377627-5F53-4F88-90BF-5D41BF55015A}"/>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203102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Blue - Title top">
    <p:bg>
      <p:bgPr>
        <a:solidFill>
          <a:srgbClr val="00B6C5"/>
        </a:solidFill>
        <a:effectLst/>
      </p:bgPr>
    </p:bg>
    <p:spTree>
      <p:nvGrpSpPr>
        <p:cNvPr id="1" name=""/>
        <p:cNvGrpSpPr/>
        <p:nvPr/>
      </p:nvGrpSpPr>
      <p:grpSpPr>
        <a:xfrm>
          <a:off x="0" y="0"/>
          <a:ext cx="0" cy="0"/>
          <a:chOff x="0" y="0"/>
          <a:chExt cx="0" cy="0"/>
        </a:xfrm>
      </p:grpSpPr>
      <p:sp>
        <p:nvSpPr>
          <p:cNvPr id="76" name="Titeltekst"/>
          <p:cNvSpPr>
            <a:spLocks noGrp="1"/>
          </p:cNvSpPr>
          <p:nvPr>
            <p:ph type="title"/>
          </p:nvPr>
        </p:nvSpPr>
        <p:spPr>
          <a:xfrm>
            <a:off x="1778496" y="889000"/>
            <a:ext cx="9524504" cy="3745310"/>
          </a:xfrm>
          <a:prstGeom prst="rect">
            <a:avLst/>
          </a:prstGeom>
        </p:spPr>
        <p:txBody>
          <a:bodyPr anchor="t"/>
          <a:lstStyle>
            <a:lvl1pPr>
              <a:defRPr>
                <a:solidFill>
                  <a:srgbClr val="FFFFFF"/>
                </a:solidFill>
              </a:defRPr>
            </a:lvl1pPr>
          </a:lstStyle>
          <a:p>
            <a:r>
              <a:t>Titeltekst</a:t>
            </a:r>
          </a:p>
        </p:txBody>
      </p:sp>
      <p:sp>
        <p:nvSpPr>
          <p:cNvPr id="77" name="&gt;"/>
          <p:cNvSpPr/>
          <p:nvPr/>
        </p:nvSpPr>
        <p:spPr>
          <a:xfrm>
            <a:off x="889000" y="889000"/>
            <a:ext cx="889000" cy="1082576"/>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ormAutofit/>
          </a:bodyPr>
          <a:lstStyle>
            <a:lvl1pPr algn="l">
              <a:defRPr sz="11200" b="1">
                <a:solidFill>
                  <a:srgbClr val="FFFFFF"/>
                </a:solidFill>
                <a:latin typeface="+mj-lt"/>
                <a:ea typeface="+mj-ea"/>
                <a:cs typeface="+mj-cs"/>
                <a:sym typeface="Calibri"/>
              </a:defRPr>
            </a:lvl1pPr>
          </a:lstStyle>
          <a:p>
            <a:r>
              <a:rPr sz="5600"/>
              <a:t>&gt;</a:t>
            </a:r>
          </a:p>
        </p:txBody>
      </p:sp>
      <p:sp>
        <p:nvSpPr>
          <p:cNvPr id="78" name="Dianummer"/>
          <p:cNvSpPr>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481657830"/>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Titel, opsomming en foto">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188EE598-C9C5-4951-BC5E-F00A4E247E67}"/>
              </a:ext>
            </a:extLst>
          </p:cNvPr>
          <p:cNvGrpSpPr/>
          <p:nvPr userDrawn="1"/>
        </p:nvGrpSpPr>
        <p:grpSpPr>
          <a:xfrm>
            <a:off x="0" y="-720544"/>
            <a:ext cx="9144000" cy="6867831"/>
            <a:chOff x="0" y="1"/>
            <a:chExt cx="9144000" cy="6867831"/>
          </a:xfrm>
        </p:grpSpPr>
        <p:pic>
          <p:nvPicPr>
            <p:cNvPr id="23" name="Image 22">
              <a:extLst>
                <a:ext uri="{FF2B5EF4-FFF2-40B4-BE49-F238E27FC236}">
                  <a16:creationId xmlns:a16="http://schemas.microsoft.com/office/drawing/2014/main" id="{29F1F1A5-E7DF-41F4-AA52-ECCCCEA5E7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96674"/>
              <a:ext cx="4050597" cy="3037690"/>
            </a:xfrm>
            <a:prstGeom prst="rect">
              <a:avLst/>
            </a:prstGeom>
          </p:spPr>
        </p:pic>
        <p:pic>
          <p:nvPicPr>
            <p:cNvPr id="24" name="Image 23">
              <a:extLst>
                <a:ext uri="{FF2B5EF4-FFF2-40B4-BE49-F238E27FC236}">
                  <a16:creationId xmlns:a16="http://schemas.microsoft.com/office/drawing/2014/main" id="{B9E8B34A-951C-4ABD-939C-60446458FC2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180786"/>
              <a:ext cx="4024992" cy="3026191"/>
            </a:xfrm>
            <a:prstGeom prst="rect">
              <a:avLst/>
            </a:prstGeom>
          </p:spPr>
        </p:pic>
        <p:pic>
          <p:nvPicPr>
            <p:cNvPr id="25" name="Picture 4" descr="Afficher l'image d'origine">
              <a:extLst>
                <a:ext uri="{FF2B5EF4-FFF2-40B4-BE49-F238E27FC236}">
                  <a16:creationId xmlns:a16="http://schemas.microsoft.com/office/drawing/2014/main" id="{3BD020F0-F455-4266-9F4A-ABF26D8A25AC}"/>
                </a:ext>
              </a:extLst>
            </p:cNvPr>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4044120" y="724592"/>
              <a:ext cx="4351235" cy="326342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 descr="15225084381_eb3d8666f0_k.jpg">
              <a:extLst>
                <a:ext uri="{FF2B5EF4-FFF2-40B4-BE49-F238E27FC236}">
                  <a16:creationId xmlns:a16="http://schemas.microsoft.com/office/drawing/2014/main" id="{234A89A3-36D6-437B-B9F5-2FC54A5FCB7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024992" y="3184704"/>
              <a:ext cx="4223853" cy="3075255"/>
            </a:xfrm>
            <a:prstGeom prst="rect">
              <a:avLst/>
            </a:prstGeom>
          </p:spPr>
        </p:pic>
        <p:sp>
          <p:nvSpPr>
            <p:cNvPr id="27" name="Forme libre : forme 26">
              <a:extLst>
                <a:ext uri="{FF2B5EF4-FFF2-40B4-BE49-F238E27FC236}">
                  <a16:creationId xmlns:a16="http://schemas.microsoft.com/office/drawing/2014/main" id="{3F186AD0-9E7A-4488-A9A0-EA091EC2C2E4}"/>
                </a:ext>
              </a:extLst>
            </p:cNvPr>
            <p:cNvSpPr/>
            <p:nvPr userDrawn="1"/>
          </p:nvSpPr>
          <p:spPr>
            <a:xfrm>
              <a:off x="0" y="1"/>
              <a:ext cx="9144000" cy="6867831"/>
            </a:xfrm>
            <a:custGeom>
              <a:avLst/>
              <a:gdLst>
                <a:gd name="connsiteX0" fmla="*/ 6157452 w 6858000"/>
                <a:gd name="connsiteY0" fmla="*/ 0 h 5143500"/>
                <a:gd name="connsiteX1" fmla="*/ 6858000 w 6858000"/>
                <a:gd name="connsiteY1" fmla="*/ 0 h 5143500"/>
                <a:gd name="connsiteX2" fmla="*/ 6858000 w 6858000"/>
                <a:gd name="connsiteY2" fmla="*/ 4173794 h 5143500"/>
                <a:gd name="connsiteX3" fmla="*/ 6858000 w 6858000"/>
                <a:gd name="connsiteY3" fmla="*/ 5143500 h 5143500"/>
                <a:gd name="connsiteX4" fmla="*/ 0 w 6858000"/>
                <a:gd name="connsiteY4" fmla="*/ 5143500 h 5143500"/>
                <a:gd name="connsiteX5" fmla="*/ 0 w 6858000"/>
                <a:gd name="connsiteY5" fmla="*/ 4173794 h 5143500"/>
                <a:gd name="connsiteX6" fmla="*/ 5567538 w 6858000"/>
                <a:gd name="connsiteY6" fmla="*/ 4173794 h 5143500"/>
                <a:gd name="connsiteX7" fmla="*/ 5686411 w 6858000"/>
                <a:gd name="connsiteY7" fmla="*/ 4161811 h 5143500"/>
                <a:gd name="connsiteX8" fmla="*/ 6145469 w 6858000"/>
                <a:gd name="connsiteY8" fmla="*/ 3702753 h 5143500"/>
                <a:gd name="connsiteX9" fmla="*/ 6157452 w 6858000"/>
                <a:gd name="connsiteY9" fmla="*/ 358388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0" h="5143500">
                  <a:moveTo>
                    <a:pt x="6157452" y="0"/>
                  </a:moveTo>
                  <a:lnTo>
                    <a:pt x="6858000" y="0"/>
                  </a:lnTo>
                  <a:lnTo>
                    <a:pt x="6858000" y="4173794"/>
                  </a:lnTo>
                  <a:lnTo>
                    <a:pt x="6858000" y="5143500"/>
                  </a:lnTo>
                  <a:lnTo>
                    <a:pt x="0" y="5143500"/>
                  </a:lnTo>
                  <a:lnTo>
                    <a:pt x="0" y="4173794"/>
                  </a:lnTo>
                  <a:lnTo>
                    <a:pt x="5567538" y="4173794"/>
                  </a:lnTo>
                  <a:lnTo>
                    <a:pt x="5686411" y="4161811"/>
                  </a:lnTo>
                  <a:cubicBezTo>
                    <a:pt x="5916832" y="4114660"/>
                    <a:pt x="6098318" y="3933174"/>
                    <a:pt x="6145469" y="3702753"/>
                  </a:cubicBezTo>
                  <a:lnTo>
                    <a:pt x="6157452" y="35838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
        <p:nvSpPr>
          <p:cNvPr id="9" name="Rectangle 8">
            <a:extLst>
              <a:ext uri="{FF2B5EF4-FFF2-40B4-BE49-F238E27FC236}">
                <a16:creationId xmlns:a16="http://schemas.microsoft.com/office/drawing/2014/main" id="{90396F54-5689-4A8B-B283-0ED0D2367669}"/>
              </a:ext>
            </a:extLst>
          </p:cNvPr>
          <p:cNvSpPr/>
          <p:nvPr/>
        </p:nvSpPr>
        <p:spPr>
          <a:xfrm>
            <a:off x="305040" y="5106363"/>
            <a:ext cx="542136" cy="954107"/>
          </a:xfrm>
          <a:prstGeom prst="rect">
            <a:avLst/>
          </a:prstGeom>
        </p:spPr>
        <p:txBody>
          <a:bodyPr wrap="square">
            <a:spAutoFit/>
          </a:bodyPr>
          <a:lstStyle/>
          <a:p>
            <a:pPr algn="l" defTabSz="412750" hangingPunct="1"/>
            <a:r>
              <a:rPr lang="fr-FR" sz="5600" b="1">
                <a:solidFill>
                  <a:srgbClr val="00B6C5"/>
                </a:solidFill>
                <a:latin typeface="Calibri"/>
                <a:cs typeface="Calibri"/>
                <a:sym typeface="Calibri"/>
              </a:rPr>
              <a:t>&gt;</a:t>
            </a:r>
          </a:p>
        </p:txBody>
      </p:sp>
      <p:sp>
        <p:nvSpPr>
          <p:cNvPr id="20" name="Espace réservé du texte 6">
            <a:extLst>
              <a:ext uri="{FF2B5EF4-FFF2-40B4-BE49-F238E27FC236}">
                <a16:creationId xmlns:a16="http://schemas.microsoft.com/office/drawing/2014/main" id="{BCB121D0-4093-445A-9D59-BFD259D7DDCD}"/>
              </a:ext>
            </a:extLst>
          </p:cNvPr>
          <p:cNvSpPr>
            <a:spLocks noGrp="1"/>
          </p:cNvSpPr>
          <p:nvPr>
            <p:ph type="body" sz="quarter" idx="12" hasCustomPrompt="1"/>
          </p:nvPr>
        </p:nvSpPr>
        <p:spPr>
          <a:xfrm>
            <a:off x="1152215" y="5011947"/>
            <a:ext cx="10596179" cy="1276346"/>
          </a:xfrm>
        </p:spPr>
        <p:txBody>
          <a:bodyPr anchor="ctr">
            <a:noAutofit/>
          </a:bodyPr>
          <a:lstStyle>
            <a:lvl1pPr marL="0" indent="0">
              <a:buNone/>
              <a:defRPr lang="fr-FR" sz="3200" b="0" i="0" u="none" strike="noStrike" cap="none" spc="0" baseline="0" dirty="0">
                <a:ln>
                  <a:noFill/>
                </a:ln>
                <a:solidFill>
                  <a:srgbClr val="3C3C3B"/>
                </a:solidFill>
                <a:uFillTx/>
                <a:latin typeface="Circular Std Black" panose="020B0A04020101010102" pitchFamily="34" charset="0"/>
                <a:ea typeface="Source Sans Pro Light" panose="020B0403030403020204" pitchFamily="34" charset="0"/>
                <a:cs typeface="Circular Std Black" panose="020B0A04020101010102" pitchFamily="34" charset="0"/>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itre de présentation</a:t>
            </a:r>
          </a:p>
        </p:txBody>
      </p:sp>
      <p:pic>
        <p:nvPicPr>
          <p:cNvPr id="43" name="Afbeelding 7">
            <a:extLst>
              <a:ext uri="{FF2B5EF4-FFF2-40B4-BE49-F238E27FC236}">
                <a16:creationId xmlns:a16="http://schemas.microsoft.com/office/drawing/2014/main" id="{6839110B-8047-405D-8F71-399B6761C298}"/>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690429" y="1857196"/>
            <a:ext cx="3057966" cy="1405524"/>
          </a:xfrm>
          <a:prstGeom prst="rect">
            <a:avLst/>
          </a:prstGeom>
        </p:spPr>
      </p:pic>
      <p:sp>
        <p:nvSpPr>
          <p:cNvPr id="29" name="Rectangle 28">
            <a:extLst>
              <a:ext uri="{FF2B5EF4-FFF2-40B4-BE49-F238E27FC236}">
                <a16:creationId xmlns:a16="http://schemas.microsoft.com/office/drawing/2014/main" id="{AE9D5B2D-B0AB-479E-B57D-6BEF82C18FD8}"/>
              </a:ext>
            </a:extLst>
          </p:cNvPr>
          <p:cNvSpPr/>
          <p:nvPr userDrawn="1"/>
        </p:nvSpPr>
        <p:spPr>
          <a:xfrm>
            <a:off x="8612385" y="5718828"/>
            <a:ext cx="190595" cy="3084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600"/>
          </a:p>
        </p:txBody>
      </p:sp>
      <p:pic>
        <p:nvPicPr>
          <p:cNvPr id="32" name="Image 31">
            <a:extLst>
              <a:ext uri="{FF2B5EF4-FFF2-40B4-BE49-F238E27FC236}">
                <a16:creationId xmlns:a16="http://schemas.microsoft.com/office/drawing/2014/main" id="{94F9C28F-7052-4478-9317-F1E974C3D5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028909" y="6390673"/>
            <a:ext cx="1099596" cy="466970"/>
          </a:xfrm>
          <a:prstGeom prst="rect">
            <a:avLst/>
          </a:prstGeom>
        </p:spPr>
      </p:pic>
      <p:pic>
        <p:nvPicPr>
          <p:cNvPr id="33" name="Image 32">
            <a:extLst>
              <a:ext uri="{FF2B5EF4-FFF2-40B4-BE49-F238E27FC236}">
                <a16:creationId xmlns:a16="http://schemas.microsoft.com/office/drawing/2014/main" id="{BCF145A8-8E6C-43AF-90D4-A28E6535F796}"/>
              </a:ext>
            </a:extLst>
          </p:cNvPr>
          <p:cNvPicPr>
            <a:picLocks noChangeAspect="1"/>
          </p:cNvPicPr>
          <p:nvPr userDrawn="1"/>
        </p:nvPicPr>
        <p:blipFill>
          <a:blip r:embed="rId8"/>
          <a:stretch>
            <a:fillRect/>
          </a:stretch>
        </p:blipFill>
        <p:spPr>
          <a:xfrm>
            <a:off x="7150754" y="6291929"/>
            <a:ext cx="1244601" cy="616981"/>
          </a:xfrm>
          <a:prstGeom prst="rect">
            <a:avLst/>
          </a:prstGeom>
        </p:spPr>
      </p:pic>
      <p:sp>
        <p:nvSpPr>
          <p:cNvPr id="34" name="ZoneTexte 33">
            <a:extLst>
              <a:ext uri="{FF2B5EF4-FFF2-40B4-BE49-F238E27FC236}">
                <a16:creationId xmlns:a16="http://schemas.microsoft.com/office/drawing/2014/main" id="{7904C3B5-CFF1-4268-8635-D75D610F54F1}"/>
              </a:ext>
            </a:extLst>
          </p:cNvPr>
          <p:cNvSpPr txBox="1"/>
          <p:nvPr userDrawn="1"/>
        </p:nvSpPr>
        <p:spPr>
          <a:xfrm>
            <a:off x="2113147" y="6383528"/>
            <a:ext cx="1097345" cy="430887"/>
          </a:xfrm>
          <a:prstGeom prst="rect">
            <a:avLst/>
          </a:prstGeom>
          <a:noFill/>
        </p:spPr>
        <p:txBody>
          <a:bodyPr wrap="square" rtlCol="0">
            <a:spAutoFit/>
          </a:bodyPr>
          <a:lstStyle/>
          <a:p>
            <a:pPr algn="r"/>
            <a:r>
              <a:rPr lang="fr-FR" sz="1100"/>
              <a:t>Un programme porté par</a:t>
            </a:r>
          </a:p>
        </p:txBody>
      </p:sp>
      <p:sp>
        <p:nvSpPr>
          <p:cNvPr id="35" name="ZoneTexte 34">
            <a:extLst>
              <a:ext uri="{FF2B5EF4-FFF2-40B4-BE49-F238E27FC236}">
                <a16:creationId xmlns:a16="http://schemas.microsoft.com/office/drawing/2014/main" id="{19AFC80D-DBA1-46E3-810B-A45107C5DF33}"/>
              </a:ext>
            </a:extLst>
          </p:cNvPr>
          <p:cNvSpPr txBox="1"/>
          <p:nvPr userDrawn="1"/>
        </p:nvSpPr>
        <p:spPr>
          <a:xfrm>
            <a:off x="4737518" y="6383529"/>
            <a:ext cx="1222557" cy="430887"/>
          </a:xfrm>
          <a:prstGeom prst="rect">
            <a:avLst/>
          </a:prstGeom>
          <a:noFill/>
        </p:spPr>
        <p:txBody>
          <a:bodyPr wrap="square" rtlCol="0">
            <a:spAutoFit/>
          </a:bodyPr>
          <a:lstStyle/>
          <a:p>
            <a:pPr algn="r"/>
            <a:r>
              <a:rPr lang="fr-FR" sz="1100"/>
              <a:t>Un programme financé par</a:t>
            </a:r>
          </a:p>
        </p:txBody>
      </p:sp>
      <p:sp>
        <p:nvSpPr>
          <p:cNvPr id="36" name="ZoneTexte 35">
            <a:extLst>
              <a:ext uri="{FF2B5EF4-FFF2-40B4-BE49-F238E27FC236}">
                <a16:creationId xmlns:a16="http://schemas.microsoft.com/office/drawing/2014/main" id="{48D6944E-8D71-4C4C-9978-B1B595E6AD56}"/>
              </a:ext>
            </a:extLst>
          </p:cNvPr>
          <p:cNvSpPr txBox="1"/>
          <p:nvPr userDrawn="1"/>
        </p:nvSpPr>
        <p:spPr>
          <a:xfrm>
            <a:off x="8557108" y="6356446"/>
            <a:ext cx="1105119" cy="430887"/>
          </a:xfrm>
          <a:prstGeom prst="rect">
            <a:avLst/>
          </a:prstGeom>
          <a:noFill/>
        </p:spPr>
        <p:txBody>
          <a:bodyPr wrap="square" rtlCol="0">
            <a:spAutoFit/>
          </a:bodyPr>
          <a:lstStyle/>
          <a:p>
            <a:pPr algn="r"/>
            <a:r>
              <a:rPr lang="fr-FR" sz="1100"/>
              <a:t>Avec la supervision de</a:t>
            </a:r>
          </a:p>
        </p:txBody>
      </p:sp>
      <p:pic>
        <p:nvPicPr>
          <p:cNvPr id="37" name="Picture 28" descr="Résultat de recherche d'images pour &quot;logo ademe&quot;">
            <a:extLst>
              <a:ext uri="{FF2B5EF4-FFF2-40B4-BE49-F238E27FC236}">
                <a16:creationId xmlns:a16="http://schemas.microsoft.com/office/drawing/2014/main" id="{CEDA2130-CC37-46AD-B752-7988AAFA879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706726" y="6339147"/>
            <a:ext cx="439020" cy="48717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e 20">
            <a:extLst>
              <a:ext uri="{FF2B5EF4-FFF2-40B4-BE49-F238E27FC236}">
                <a16:creationId xmlns:a16="http://schemas.microsoft.com/office/drawing/2014/main" id="{BF23CB87-9C89-4AEA-B5A3-5349E9EE0852}"/>
              </a:ext>
            </a:extLst>
          </p:cNvPr>
          <p:cNvGrpSpPr/>
          <p:nvPr userDrawn="1"/>
        </p:nvGrpSpPr>
        <p:grpSpPr>
          <a:xfrm>
            <a:off x="2825218" y="6313773"/>
            <a:ext cx="1867801" cy="595137"/>
            <a:chOff x="5778195" y="4594336"/>
            <a:chExt cx="5870918" cy="1646843"/>
          </a:xfrm>
        </p:grpSpPr>
        <p:pic>
          <p:nvPicPr>
            <p:cNvPr id="28" name="Picture 6">
              <a:extLst>
                <a:ext uri="{FF2B5EF4-FFF2-40B4-BE49-F238E27FC236}">
                  <a16:creationId xmlns:a16="http://schemas.microsoft.com/office/drawing/2014/main" id="{B3319E34-F28A-4DC0-8503-84BD6E5F66A7}"/>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915939" y="5161935"/>
              <a:ext cx="3733174" cy="107924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a:extLst>
                <a:ext uri="{FF2B5EF4-FFF2-40B4-BE49-F238E27FC236}">
                  <a16:creationId xmlns:a16="http://schemas.microsoft.com/office/drawing/2014/main" id="{2429BE9B-2C94-481B-A064-47E11ABA23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778195" y="4594336"/>
              <a:ext cx="3733174" cy="131485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9281368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cSld name="Blue - Title / subtitle">
    <p:bg>
      <p:bgPr>
        <a:solidFill>
          <a:srgbClr val="00B6C5"/>
        </a:solidFill>
        <a:effectLst/>
      </p:bgPr>
    </p:bg>
    <p:spTree>
      <p:nvGrpSpPr>
        <p:cNvPr id="1" name=""/>
        <p:cNvGrpSpPr/>
        <p:nvPr/>
      </p:nvGrpSpPr>
      <p:grpSpPr>
        <a:xfrm>
          <a:off x="0" y="0"/>
          <a:ext cx="0" cy="0"/>
          <a:chOff x="0" y="0"/>
          <a:chExt cx="0" cy="0"/>
        </a:xfrm>
      </p:grpSpPr>
      <p:sp>
        <p:nvSpPr>
          <p:cNvPr id="88" name="Dianummer"/>
          <p:cNvSpPr>
            <a:spLocks noGrp="1"/>
          </p:cNvSpPr>
          <p:nvPr>
            <p:ph type="sldNum" sz="quarter" idx="2"/>
          </p:nvPr>
        </p:nvSpPr>
        <p:spPr>
          <a:prstGeom prst="rect">
            <a:avLst/>
          </a:prstGeom>
        </p:spPr>
        <p:txBody>
          <a:bodyPr/>
          <a:lstStyle/>
          <a:p>
            <a:fld id="{D2D4539B-BA63-4FDA-A896-DC7ADFB317E4}" type="slidenum">
              <a:rPr lang="fr-FR" smtClean="0"/>
              <a:t>‹N°›</a:t>
            </a:fld>
            <a:endParaRPr lang="fr-FR"/>
          </a:p>
        </p:txBody>
      </p:sp>
      <p:sp>
        <p:nvSpPr>
          <p:cNvPr id="3" name="Espace réservé du texte 2">
            <a:extLst>
              <a:ext uri="{FF2B5EF4-FFF2-40B4-BE49-F238E27FC236}">
                <a16:creationId xmlns:a16="http://schemas.microsoft.com/office/drawing/2014/main" id="{24D0DB96-17E9-4646-9A5F-FA01ADDC372B}"/>
              </a:ext>
            </a:extLst>
          </p:cNvPr>
          <p:cNvSpPr>
            <a:spLocks noGrp="1"/>
          </p:cNvSpPr>
          <p:nvPr>
            <p:ph type="body" sz="quarter" idx="10" hasCustomPrompt="1"/>
          </p:nvPr>
        </p:nvSpPr>
        <p:spPr>
          <a:xfrm>
            <a:off x="371475" y="1952625"/>
            <a:ext cx="10277475" cy="4345156"/>
          </a:xfrm>
        </p:spPr>
        <p:txBody>
          <a:bodyPr anchor="t"/>
          <a:lstStyle>
            <a:lvl1pPr>
              <a:buClr>
                <a:schemeClr val="bg1"/>
              </a:buClr>
              <a:defRPr lang="fr-FR" sz="2000" b="1" i="0" u="none" strike="noStrike" cap="none" spc="0" baseline="0" dirty="0" smtClean="0">
                <a:ln>
                  <a:noFill/>
                </a:ln>
                <a:solidFill>
                  <a:schemeClr val="bg1"/>
                </a:solidFill>
                <a:uFillTx/>
                <a:latin typeface="Source Sans Pro Light" panose="020B0403030403020204" pitchFamily="34" charset="0"/>
                <a:ea typeface="Source Sans Pro Light" panose="020B0403030403020204" pitchFamily="34" charset="0"/>
                <a:cs typeface="+mj-cs"/>
                <a:sym typeface="Calibri"/>
              </a:defRPr>
            </a:lvl1pPr>
            <a:lvl2pPr marL="317500" indent="-317500">
              <a:defRPr/>
            </a:lvl2pPr>
            <a:lvl3pPr marL="317500" indent="-317500">
              <a:spcBef>
                <a:spcPts val="0"/>
              </a:spcBef>
              <a:spcAft>
                <a:spcPts val="3600"/>
              </a:spcAft>
              <a:defRPr lang="fr-FR" sz="1800" b="0" i="0" u="none" strike="noStrike" cap="none" spc="0" baseline="0" dirty="0" smtClean="0">
                <a:ln>
                  <a:noFill/>
                </a:ln>
                <a:solidFill>
                  <a:schemeClr val="bg1"/>
                </a:solidFill>
                <a:uFillTx/>
                <a:latin typeface="Source Sans Pro Light" panose="020B0403030403020204" pitchFamily="34" charset="0"/>
                <a:ea typeface="Source Sans Pro Light" panose="020B0403030403020204" pitchFamily="34" charset="0"/>
                <a:cs typeface="+mj-cs"/>
                <a:sym typeface="Calibri"/>
              </a:defRPr>
            </a:lvl3pPr>
            <a:lvl4pPr>
              <a:defRPr sz="1800">
                <a:solidFill>
                  <a:schemeClr val="bg1"/>
                </a:solidFill>
                <a:latin typeface="Source Sans Pro Light" panose="020B0403030403020204" pitchFamily="34" charset="0"/>
                <a:ea typeface="Source Sans Pro Light" panose="020B0403030403020204" pitchFamily="34" charset="0"/>
              </a:defRPr>
            </a:lvl4pPr>
          </a:lstStyle>
          <a:p>
            <a:pPr lvl="0"/>
            <a:r>
              <a:rPr lang="fr-FR"/>
              <a:t>Texte</a:t>
            </a:r>
          </a:p>
          <a:p>
            <a:pPr marL="635000" marR="0" lvl="3" indent="-317500" algn="l" defTabSz="412750" eaLnBrk="1" latinLnBrk="0" hangingPunct="1">
              <a:lnSpc>
                <a:spcPct val="100000"/>
              </a:lnSpc>
              <a:spcBef>
                <a:spcPts val="2950"/>
              </a:spcBef>
              <a:spcAft>
                <a:spcPts val="0"/>
              </a:spcAft>
              <a:buClr>
                <a:schemeClr val="bg1"/>
              </a:buClr>
              <a:buSzPct val="75000"/>
              <a:buFontTx/>
              <a:buChar char="&gt;"/>
              <a:tabLst/>
            </a:pPr>
            <a:r>
              <a:rPr lang="fr-FR"/>
              <a:t>Texte</a:t>
            </a:r>
          </a:p>
          <a:p>
            <a:pPr marL="635000" marR="0" lvl="2" indent="-317500" algn="l" defTabSz="412750" eaLnBrk="1" latinLnBrk="0" hangingPunct="1">
              <a:lnSpc>
                <a:spcPct val="100000"/>
              </a:lnSpc>
              <a:spcBef>
                <a:spcPts val="2950"/>
              </a:spcBef>
              <a:spcAft>
                <a:spcPts val="0"/>
              </a:spcAft>
              <a:buClr>
                <a:schemeClr val="bg1"/>
              </a:buClr>
              <a:buSzPct val="75000"/>
              <a:buFontTx/>
              <a:buChar char="&gt;"/>
              <a:tabLst/>
            </a:pPr>
            <a:r>
              <a:rPr lang="fr-FR"/>
              <a:t>Texte</a:t>
            </a:r>
          </a:p>
          <a:p>
            <a:pPr lvl="0"/>
            <a:r>
              <a:rPr lang="fr-FR"/>
              <a:t>Texte</a:t>
            </a:r>
          </a:p>
        </p:txBody>
      </p:sp>
      <p:sp>
        <p:nvSpPr>
          <p:cNvPr id="12" name="Titeltekst">
            <a:extLst>
              <a:ext uri="{FF2B5EF4-FFF2-40B4-BE49-F238E27FC236}">
                <a16:creationId xmlns:a16="http://schemas.microsoft.com/office/drawing/2014/main" id="{2D1F8B38-994A-4585-9562-6BF92D8A5FCA}"/>
              </a:ext>
            </a:extLst>
          </p:cNvPr>
          <p:cNvSpPr>
            <a:spLocks noGrp="1"/>
          </p:cNvSpPr>
          <p:nvPr>
            <p:ph type="title" hasCustomPrompt="1"/>
          </p:nvPr>
        </p:nvSpPr>
        <p:spPr>
          <a:xfrm>
            <a:off x="850488" y="310560"/>
            <a:ext cx="10970037" cy="912185"/>
          </a:xfrm>
          <a:prstGeom prst="rect">
            <a:avLst/>
          </a:prstGeom>
        </p:spPr>
        <p:txBody>
          <a:bodyPr>
            <a:noAutofit/>
          </a:bodyPr>
          <a:lstStyle>
            <a:lvl1pPr>
              <a:defRPr sz="3600" b="1" i="0" u="none" strike="noStrike" cap="none" spc="0" baseline="0" dirty="0">
                <a:ln>
                  <a:noFill/>
                </a:ln>
                <a:solidFill>
                  <a:schemeClr val="bg1"/>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a:t>
            </a:r>
            <a:endParaRPr/>
          </a:p>
        </p:txBody>
      </p:sp>
      <p:sp>
        <p:nvSpPr>
          <p:cNvPr id="13" name="&gt;">
            <a:extLst>
              <a:ext uri="{FF2B5EF4-FFF2-40B4-BE49-F238E27FC236}">
                <a16:creationId xmlns:a16="http://schemas.microsoft.com/office/drawing/2014/main" id="{1835C04D-612A-41BD-9C52-3885E5CB16D0}"/>
              </a:ext>
            </a:extLst>
          </p:cNvPr>
          <p:cNvSpPr/>
          <p:nvPr/>
        </p:nvSpPr>
        <p:spPr>
          <a:xfrm>
            <a:off x="325474" y="310560"/>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solidFill>
                  <a:schemeClr val="bg1"/>
                </a:solidFill>
              </a:rPr>
              <a:t>&gt;</a:t>
            </a:r>
          </a:p>
        </p:txBody>
      </p:sp>
      <p:pic>
        <p:nvPicPr>
          <p:cNvPr id="10" name="Afbeelding 7">
            <a:extLst>
              <a:ext uri="{FF2B5EF4-FFF2-40B4-BE49-F238E27FC236}">
                <a16:creationId xmlns:a16="http://schemas.microsoft.com/office/drawing/2014/main" id="{B4720955-AD64-4502-859A-EF47BA8ABE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17204" y="6447342"/>
            <a:ext cx="760830" cy="349698"/>
          </a:xfrm>
          <a:prstGeom prst="rect">
            <a:avLst/>
          </a:prstGeom>
        </p:spPr>
      </p:pic>
      <p:pic>
        <p:nvPicPr>
          <p:cNvPr id="15" name="Picture 2">
            <a:extLst>
              <a:ext uri="{FF2B5EF4-FFF2-40B4-BE49-F238E27FC236}">
                <a16:creationId xmlns:a16="http://schemas.microsoft.com/office/drawing/2014/main" id="{78A23CB9-C5AC-4915-A4D9-B4E32F5C6C4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8430" y="6366295"/>
            <a:ext cx="1170742" cy="38918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EB08A349-DDA3-06E2-5469-33A61E5B2D8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94776" y="6253075"/>
            <a:ext cx="571749" cy="380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13038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List">
    <p:spTree>
      <p:nvGrpSpPr>
        <p:cNvPr id="1" name=""/>
        <p:cNvGrpSpPr/>
        <p:nvPr/>
      </p:nvGrpSpPr>
      <p:grpSpPr>
        <a:xfrm>
          <a:off x="0" y="0"/>
          <a:ext cx="0" cy="0"/>
          <a:chOff x="0" y="0"/>
          <a:chExt cx="0" cy="0"/>
        </a:xfrm>
      </p:grpSpPr>
      <p:sp>
        <p:nvSpPr>
          <p:cNvPr id="147" name="Dianummer"/>
          <p:cNvSpPr>
            <a:spLocks noGrp="1"/>
          </p:cNvSpPr>
          <p:nvPr>
            <p:ph type="sldNum" sz="quarter" idx="2"/>
          </p:nvPr>
        </p:nvSpPr>
        <p:spPr>
          <a:xfrm>
            <a:off x="4724400" y="6396828"/>
            <a:ext cx="2743200" cy="365125"/>
          </a:xfrm>
          <a:prstGeom prst="rect">
            <a:avLst/>
          </a:prstGeom>
        </p:spPr>
        <p:txBody>
          <a:bodyPr/>
          <a:lstStyle>
            <a:lvl1pPr algn="ctr">
              <a:defRPr/>
            </a:lvl1pPr>
          </a:lstStyle>
          <a:p>
            <a:fld id="{D2D4539B-BA63-4FDA-A896-DC7ADFB317E4}" type="slidenum">
              <a:rPr lang="fr-FR" smtClean="0"/>
              <a:pPr/>
              <a:t>‹N°›</a:t>
            </a:fld>
            <a:endParaRPr lang="fr-FR"/>
          </a:p>
        </p:txBody>
      </p:sp>
      <p:sp>
        <p:nvSpPr>
          <p:cNvPr id="50" name="Titeltekst">
            <a:extLst>
              <a:ext uri="{FF2B5EF4-FFF2-40B4-BE49-F238E27FC236}">
                <a16:creationId xmlns:a16="http://schemas.microsoft.com/office/drawing/2014/main" id="{EBF1A666-6D62-4510-A06D-9998E28F1359}"/>
              </a:ext>
            </a:extLst>
          </p:cNvPr>
          <p:cNvSpPr>
            <a:spLocks noGrp="1"/>
          </p:cNvSpPr>
          <p:nvPr>
            <p:ph type="title" hasCustomPrompt="1"/>
          </p:nvPr>
        </p:nvSpPr>
        <p:spPr>
          <a:xfrm>
            <a:off x="850488" y="111054"/>
            <a:ext cx="10970037" cy="912185"/>
          </a:xfrm>
          <a:prstGeom prst="rect">
            <a:avLst/>
          </a:prstGeom>
        </p:spPr>
        <p:txBody>
          <a:bodyPr>
            <a:noAutofit/>
          </a:bodyPr>
          <a:lstStyle>
            <a:lvl1pPr>
              <a:defRPr sz="3600" b="1" i="0" u="none" strike="noStrike" cap="none" spc="0" baseline="0" dirty="0">
                <a:ln>
                  <a:noFill/>
                </a:ln>
                <a:solidFill>
                  <a:srgbClr val="3C3C3B"/>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a:t>
            </a:r>
            <a:endParaRPr/>
          </a:p>
        </p:txBody>
      </p:sp>
      <p:sp>
        <p:nvSpPr>
          <p:cNvPr id="51" name="&gt;">
            <a:extLst>
              <a:ext uri="{FF2B5EF4-FFF2-40B4-BE49-F238E27FC236}">
                <a16:creationId xmlns:a16="http://schemas.microsoft.com/office/drawing/2014/main" id="{F2E362FB-FDA8-4D5E-B426-7A370A2060FA}"/>
              </a:ext>
            </a:extLst>
          </p:cNvPr>
          <p:cNvSpPr/>
          <p:nvPr userDrawn="1"/>
        </p:nvSpPr>
        <p:spPr>
          <a:xfrm>
            <a:off x="325474" y="111054"/>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solidFill>
                  <a:srgbClr val="0BB2C4"/>
                </a:solidFill>
              </a:rPr>
              <a:t>&gt;</a:t>
            </a:r>
          </a:p>
        </p:txBody>
      </p:sp>
      <p:pic>
        <p:nvPicPr>
          <p:cNvPr id="3" name="Image 2" descr="Une image contenant texte&#10;&#10;Description générée automatiquement">
            <a:extLst>
              <a:ext uri="{FF2B5EF4-FFF2-40B4-BE49-F238E27FC236}">
                <a16:creationId xmlns:a16="http://schemas.microsoft.com/office/drawing/2014/main" id="{E7B36E48-DF85-18B7-EAB9-315E7BB7FD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34" t="20539" b="37663"/>
          <a:stretch/>
        </p:blipFill>
        <p:spPr>
          <a:xfrm>
            <a:off x="11012017" y="6332622"/>
            <a:ext cx="737388" cy="432000"/>
          </a:xfrm>
          <a:prstGeom prst="rect">
            <a:avLst/>
          </a:prstGeom>
        </p:spPr>
      </p:pic>
      <p:pic>
        <p:nvPicPr>
          <p:cNvPr id="2050" name="Picture 2" descr="L'instrument financier pour l'environnement — Wikipédia">
            <a:extLst>
              <a:ext uri="{FF2B5EF4-FFF2-40B4-BE49-F238E27FC236}">
                <a16:creationId xmlns:a16="http://schemas.microsoft.com/office/drawing/2014/main" id="{72AF0D03-1791-DEEC-308D-1AAB243E40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77672" y="6314622"/>
            <a:ext cx="647379" cy="46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360397"/>
      </p:ext>
    </p:extLst>
  </p:cSld>
  <p:clrMapOvr>
    <a:masterClrMapping/>
  </p:clrMapOvr>
  <p:transition spd="med"/>
  <p:hf hdr="0" ftr="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 subtitle">
    <p:spTree>
      <p:nvGrpSpPr>
        <p:cNvPr id="1" name=""/>
        <p:cNvGrpSpPr/>
        <p:nvPr/>
      </p:nvGrpSpPr>
      <p:grpSpPr>
        <a:xfrm>
          <a:off x="0" y="0"/>
          <a:ext cx="0" cy="0"/>
          <a:chOff x="0" y="0"/>
          <a:chExt cx="0" cy="0"/>
        </a:xfrm>
      </p:grpSpPr>
      <p:sp>
        <p:nvSpPr>
          <p:cNvPr id="19" name="Titeltekst">
            <a:extLst>
              <a:ext uri="{FF2B5EF4-FFF2-40B4-BE49-F238E27FC236}">
                <a16:creationId xmlns:a16="http://schemas.microsoft.com/office/drawing/2014/main" id="{E94F97C6-9635-4247-9711-71C72452F3F2}"/>
              </a:ext>
            </a:extLst>
          </p:cNvPr>
          <p:cNvSpPr>
            <a:spLocks noGrp="1"/>
          </p:cNvSpPr>
          <p:nvPr>
            <p:ph type="title" hasCustomPrompt="1"/>
          </p:nvPr>
        </p:nvSpPr>
        <p:spPr>
          <a:xfrm>
            <a:off x="850489" y="338270"/>
            <a:ext cx="9324308" cy="912185"/>
          </a:xfrm>
          <a:prstGeom prst="rect">
            <a:avLst/>
          </a:prstGeom>
        </p:spPr>
        <p:txBody>
          <a:bodyPr anchor="ctr">
            <a:noAutofit/>
          </a:bodyPr>
          <a:lstStyle>
            <a:lvl1pPr marL="0" marR="0" indent="0" algn="l" defTabSz="412750" eaLnBrk="1" latinLnBrk="0" hangingPunct="1">
              <a:lnSpc>
                <a:spcPct val="90000"/>
              </a:lnSpc>
              <a:spcBef>
                <a:spcPts val="0"/>
              </a:spcBef>
              <a:spcAft>
                <a:spcPts val="0"/>
              </a:spcAft>
              <a:buClrTx/>
              <a:buSzTx/>
              <a:buFontTx/>
              <a:buNone/>
              <a:tabLst/>
              <a:defRPr sz="2800" b="1" i="0" u="none" strike="noStrike" cap="none" spc="0" baseline="0" dirty="0">
                <a:ln>
                  <a:noFill/>
                </a:ln>
                <a:solidFill>
                  <a:srgbClr val="3C3C3B"/>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 Modifiez le titre Modifiez le titre</a:t>
            </a:r>
            <a:endParaRPr/>
          </a:p>
        </p:txBody>
      </p:sp>
      <p:sp>
        <p:nvSpPr>
          <p:cNvPr id="20" name="&gt;">
            <a:extLst>
              <a:ext uri="{FF2B5EF4-FFF2-40B4-BE49-F238E27FC236}">
                <a16:creationId xmlns:a16="http://schemas.microsoft.com/office/drawing/2014/main" id="{47D703E7-68FE-414E-A2DA-8E63A8C92602}"/>
              </a:ext>
            </a:extLst>
          </p:cNvPr>
          <p:cNvSpPr/>
          <p:nvPr/>
        </p:nvSpPr>
        <p:spPr>
          <a:xfrm>
            <a:off x="325474" y="310560"/>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solidFill>
                  <a:srgbClr val="0BB2C4"/>
                </a:solidFill>
              </a:rPr>
              <a:t>&gt;</a:t>
            </a:r>
          </a:p>
        </p:txBody>
      </p:sp>
      <p:grpSp>
        <p:nvGrpSpPr>
          <p:cNvPr id="8" name="Groupe 7">
            <a:extLst>
              <a:ext uri="{FF2B5EF4-FFF2-40B4-BE49-F238E27FC236}">
                <a16:creationId xmlns:a16="http://schemas.microsoft.com/office/drawing/2014/main" id="{717A314C-00E5-4550-931D-9FB548E4A38B}"/>
              </a:ext>
            </a:extLst>
          </p:cNvPr>
          <p:cNvGrpSpPr>
            <a:grpSpLocks noChangeAspect="1"/>
          </p:cNvGrpSpPr>
          <p:nvPr userDrawn="1"/>
        </p:nvGrpSpPr>
        <p:grpSpPr>
          <a:xfrm>
            <a:off x="662802" y="6445604"/>
            <a:ext cx="1111406" cy="221280"/>
            <a:chOff x="3328027" y="4052889"/>
            <a:chExt cx="3733618" cy="743362"/>
          </a:xfrm>
          <a:solidFill>
            <a:srgbClr val="172154"/>
          </a:solidFill>
        </p:grpSpPr>
        <p:sp>
          <p:nvSpPr>
            <p:cNvPr id="9" name="Forme libre : forme 8">
              <a:extLst>
                <a:ext uri="{FF2B5EF4-FFF2-40B4-BE49-F238E27FC236}">
                  <a16:creationId xmlns:a16="http://schemas.microsoft.com/office/drawing/2014/main" id="{C5A9D14F-BA29-421C-A973-0ACA03F09FE6}"/>
                </a:ext>
              </a:extLst>
            </p:cNvPr>
            <p:cNvSpPr>
              <a:spLocks noChangeAspect="1"/>
            </p:cNvSpPr>
            <p:nvPr/>
          </p:nvSpPr>
          <p:spPr>
            <a:xfrm>
              <a:off x="3328027" y="4052889"/>
              <a:ext cx="744260" cy="743362"/>
            </a:xfrm>
            <a:custGeom>
              <a:avLst/>
              <a:gdLst>
                <a:gd name="connsiteX0" fmla="*/ 1566863 w 1583055"/>
                <a:gd name="connsiteY0" fmla="*/ 629602 h 1581150"/>
                <a:gd name="connsiteX1" fmla="*/ 1583055 w 1583055"/>
                <a:gd name="connsiteY1" fmla="*/ 789622 h 1581150"/>
                <a:gd name="connsiteX2" fmla="*/ 791528 w 1583055"/>
                <a:gd name="connsiteY2" fmla="*/ 1581150 h 1581150"/>
                <a:gd name="connsiteX3" fmla="*/ 633413 w 1583055"/>
                <a:gd name="connsiteY3" fmla="*/ 1581150 h 1581150"/>
                <a:gd name="connsiteX4" fmla="*/ 633413 w 1583055"/>
                <a:gd name="connsiteY4" fmla="*/ 1266825 h 1581150"/>
                <a:gd name="connsiteX5" fmla="*/ 791528 w 1583055"/>
                <a:gd name="connsiteY5" fmla="*/ 1266825 h 1581150"/>
                <a:gd name="connsiteX6" fmla="*/ 1240155 w 1583055"/>
                <a:gd name="connsiteY6" fmla="*/ 948690 h 1581150"/>
                <a:gd name="connsiteX7" fmla="*/ 632460 w 1583055"/>
                <a:gd name="connsiteY7" fmla="*/ 948690 h 1581150"/>
                <a:gd name="connsiteX8" fmla="*/ 950595 w 1583055"/>
                <a:gd name="connsiteY8" fmla="*/ 630554 h 1581150"/>
                <a:gd name="connsiteX9" fmla="*/ 791528 w 1583055"/>
                <a:gd name="connsiteY9" fmla="*/ 0 h 1581150"/>
                <a:gd name="connsiteX10" fmla="*/ 1401128 w 1583055"/>
                <a:gd name="connsiteY10" fmla="*/ 0 h 1581150"/>
                <a:gd name="connsiteX11" fmla="*/ 1084898 w 1583055"/>
                <a:gd name="connsiteY11" fmla="*/ 316230 h 1581150"/>
                <a:gd name="connsiteX12" fmla="*/ 790575 w 1583055"/>
                <a:gd name="connsiteY12" fmla="*/ 315278 h 1581150"/>
                <a:gd name="connsiteX13" fmla="*/ 314325 w 1583055"/>
                <a:gd name="connsiteY13" fmla="*/ 791528 h 1581150"/>
                <a:gd name="connsiteX14" fmla="*/ 315278 w 1583055"/>
                <a:gd name="connsiteY14" fmla="*/ 1423035 h 1581150"/>
                <a:gd name="connsiteX15" fmla="*/ 0 w 1583055"/>
                <a:gd name="connsiteY15" fmla="*/ 791528 h 1581150"/>
                <a:gd name="connsiteX16" fmla="*/ 791528 w 1583055"/>
                <a:gd name="connsiteY16" fmla="*/ 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3055" h="1581150">
                  <a:moveTo>
                    <a:pt x="1566863" y="629602"/>
                  </a:moveTo>
                  <a:cubicBezTo>
                    <a:pt x="1577340" y="681037"/>
                    <a:pt x="1583055" y="735329"/>
                    <a:pt x="1583055" y="789622"/>
                  </a:cubicBezTo>
                  <a:cubicBezTo>
                    <a:pt x="1583055" y="1226820"/>
                    <a:pt x="1228725" y="1581150"/>
                    <a:pt x="791528" y="1581150"/>
                  </a:cubicBezTo>
                  <a:lnTo>
                    <a:pt x="633413" y="1581150"/>
                  </a:lnTo>
                  <a:lnTo>
                    <a:pt x="633413" y="1266825"/>
                  </a:lnTo>
                  <a:lnTo>
                    <a:pt x="791528" y="1266825"/>
                  </a:lnTo>
                  <a:cubicBezTo>
                    <a:pt x="999173" y="1266825"/>
                    <a:pt x="1175385" y="1134427"/>
                    <a:pt x="1240155" y="948690"/>
                  </a:cubicBezTo>
                  <a:lnTo>
                    <a:pt x="632460" y="948690"/>
                  </a:lnTo>
                  <a:cubicBezTo>
                    <a:pt x="632460" y="773429"/>
                    <a:pt x="774382" y="630554"/>
                    <a:pt x="950595" y="630554"/>
                  </a:cubicBezTo>
                  <a:close/>
                  <a:moveTo>
                    <a:pt x="791528" y="0"/>
                  </a:moveTo>
                  <a:lnTo>
                    <a:pt x="1401128" y="0"/>
                  </a:lnTo>
                  <a:cubicBezTo>
                    <a:pt x="1401128" y="174308"/>
                    <a:pt x="1259205" y="316230"/>
                    <a:pt x="1084898" y="316230"/>
                  </a:cubicBezTo>
                  <a:lnTo>
                    <a:pt x="790575" y="315278"/>
                  </a:lnTo>
                  <a:cubicBezTo>
                    <a:pt x="527685" y="315278"/>
                    <a:pt x="314325" y="528638"/>
                    <a:pt x="314325" y="791528"/>
                  </a:cubicBezTo>
                  <a:lnTo>
                    <a:pt x="315278" y="1423035"/>
                  </a:lnTo>
                  <a:cubicBezTo>
                    <a:pt x="123825" y="1278255"/>
                    <a:pt x="0" y="1049655"/>
                    <a:pt x="0" y="791528"/>
                  </a:cubicBezTo>
                  <a:cubicBezTo>
                    <a:pt x="0" y="354330"/>
                    <a:pt x="354330" y="0"/>
                    <a:pt x="791528" y="0"/>
                  </a:cubicBezTo>
                  <a:close/>
                </a:path>
              </a:pathLst>
            </a:custGeom>
            <a:solidFill>
              <a:srgbClr val="21AD8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172154"/>
                </a:solidFill>
                <a:effectLst/>
                <a:uLnTx/>
                <a:uFillTx/>
                <a:latin typeface="Avenir Book"/>
                <a:cs typeface="Arial"/>
              </a:endParaRPr>
            </a:p>
          </p:txBody>
        </p:sp>
        <p:sp>
          <p:nvSpPr>
            <p:cNvPr id="10" name="Forme libre : forme 9">
              <a:extLst>
                <a:ext uri="{FF2B5EF4-FFF2-40B4-BE49-F238E27FC236}">
                  <a16:creationId xmlns:a16="http://schemas.microsoft.com/office/drawing/2014/main" id="{B2B17A4B-DCED-4D9A-81B6-29DF7FD06975}"/>
                </a:ext>
              </a:extLst>
            </p:cNvPr>
            <p:cNvSpPr>
              <a:spLocks noChangeAspect="1"/>
            </p:cNvSpPr>
            <p:nvPr/>
          </p:nvSpPr>
          <p:spPr>
            <a:xfrm>
              <a:off x="4302791" y="4230794"/>
              <a:ext cx="2758854" cy="423117"/>
            </a:xfrm>
            <a:custGeom>
              <a:avLst/>
              <a:gdLst>
                <a:gd name="connsiteX0" fmla="*/ 4293869 w 5192076"/>
                <a:gd name="connsiteY0" fmla="*/ 342900 h 796291"/>
                <a:gd name="connsiteX1" fmla="*/ 4150042 w 5192076"/>
                <a:gd name="connsiteY1" fmla="*/ 453390 h 796291"/>
                <a:gd name="connsiteX2" fmla="*/ 4429124 w 5192076"/>
                <a:gd name="connsiteY2" fmla="*/ 453390 h 796291"/>
                <a:gd name="connsiteX3" fmla="*/ 4293869 w 5192076"/>
                <a:gd name="connsiteY3" fmla="*/ 342900 h 796291"/>
                <a:gd name="connsiteX4" fmla="*/ 2188844 w 5192076"/>
                <a:gd name="connsiteY4" fmla="*/ 342900 h 796291"/>
                <a:gd name="connsiteX5" fmla="*/ 2045017 w 5192076"/>
                <a:gd name="connsiteY5" fmla="*/ 453390 h 796291"/>
                <a:gd name="connsiteX6" fmla="*/ 2324099 w 5192076"/>
                <a:gd name="connsiteY6" fmla="*/ 453390 h 796291"/>
                <a:gd name="connsiteX7" fmla="*/ 2188844 w 5192076"/>
                <a:gd name="connsiteY7" fmla="*/ 342900 h 796291"/>
                <a:gd name="connsiteX8" fmla="*/ 1557337 w 5192076"/>
                <a:gd name="connsiteY8" fmla="*/ 342900 h 796291"/>
                <a:gd name="connsiteX9" fmla="*/ 1413509 w 5192076"/>
                <a:gd name="connsiteY9" fmla="*/ 453390 h 796291"/>
                <a:gd name="connsiteX10" fmla="*/ 1692592 w 5192076"/>
                <a:gd name="connsiteY10" fmla="*/ 453390 h 796291"/>
                <a:gd name="connsiteX11" fmla="*/ 1557337 w 5192076"/>
                <a:gd name="connsiteY11" fmla="*/ 342900 h 796291"/>
                <a:gd name="connsiteX12" fmla="*/ 1168717 w 5192076"/>
                <a:gd name="connsiteY12" fmla="*/ 231457 h 796291"/>
                <a:gd name="connsiteX13" fmla="*/ 1235392 w 5192076"/>
                <a:gd name="connsiteY13" fmla="*/ 231457 h 796291"/>
                <a:gd name="connsiteX14" fmla="*/ 1235392 w 5192076"/>
                <a:gd name="connsiteY14" fmla="*/ 275272 h 796291"/>
                <a:gd name="connsiteX15" fmla="*/ 1140142 w 5192076"/>
                <a:gd name="connsiteY15" fmla="*/ 382905 h 796291"/>
                <a:gd name="connsiteX16" fmla="*/ 1137285 w 5192076"/>
                <a:gd name="connsiteY16" fmla="*/ 382905 h 796291"/>
                <a:gd name="connsiteX17" fmla="*/ 1050607 w 5192076"/>
                <a:gd name="connsiteY17" fmla="*/ 477202 h 796291"/>
                <a:gd name="connsiteX18" fmla="*/ 1050607 w 5192076"/>
                <a:gd name="connsiteY18" fmla="*/ 783907 h 796291"/>
                <a:gd name="connsiteX19" fmla="*/ 911542 w 5192076"/>
                <a:gd name="connsiteY19" fmla="*/ 643890 h 796291"/>
                <a:gd name="connsiteX20" fmla="*/ 911542 w 5192076"/>
                <a:gd name="connsiteY20" fmla="*/ 232410 h 796291"/>
                <a:gd name="connsiteX21" fmla="*/ 1050607 w 5192076"/>
                <a:gd name="connsiteY21" fmla="*/ 232410 h 796291"/>
                <a:gd name="connsiteX22" fmla="*/ 1050607 w 5192076"/>
                <a:gd name="connsiteY22" fmla="*/ 342899 h 796291"/>
                <a:gd name="connsiteX23" fmla="*/ 1168717 w 5192076"/>
                <a:gd name="connsiteY23" fmla="*/ 231457 h 796291"/>
                <a:gd name="connsiteX24" fmla="*/ 5098732 w 5192076"/>
                <a:gd name="connsiteY24" fmla="*/ 217170 h 796291"/>
                <a:gd name="connsiteX25" fmla="*/ 5175884 w 5192076"/>
                <a:gd name="connsiteY25" fmla="*/ 242887 h 796291"/>
                <a:gd name="connsiteX26" fmla="*/ 4992051 w 5192076"/>
                <a:gd name="connsiteY26" fmla="*/ 499110 h 796291"/>
                <a:gd name="connsiteX27" fmla="*/ 5192076 w 5192076"/>
                <a:gd name="connsiteY27" fmla="*/ 779145 h 796291"/>
                <a:gd name="connsiteX28" fmla="*/ 5029199 w 5192076"/>
                <a:gd name="connsiteY28" fmla="*/ 779145 h 796291"/>
                <a:gd name="connsiteX29" fmla="*/ 4911089 w 5192076"/>
                <a:gd name="connsiteY29" fmla="*/ 612458 h 796291"/>
                <a:gd name="connsiteX30" fmla="*/ 4818697 w 5192076"/>
                <a:gd name="connsiteY30" fmla="*/ 741997 h 796291"/>
                <a:gd name="connsiteX31" fmla="*/ 4714874 w 5192076"/>
                <a:gd name="connsiteY31" fmla="*/ 794385 h 796291"/>
                <a:gd name="connsiteX32" fmla="*/ 4636769 w 5192076"/>
                <a:gd name="connsiteY32" fmla="*/ 767715 h 796291"/>
                <a:gd name="connsiteX33" fmla="*/ 4829174 w 5192076"/>
                <a:gd name="connsiteY33" fmla="*/ 500062 h 796291"/>
                <a:gd name="connsiteX34" fmla="*/ 4637722 w 5192076"/>
                <a:gd name="connsiteY34" fmla="*/ 231458 h 796291"/>
                <a:gd name="connsiteX35" fmla="*/ 4800599 w 5192076"/>
                <a:gd name="connsiteY35" fmla="*/ 231458 h 796291"/>
                <a:gd name="connsiteX36" fmla="*/ 4911089 w 5192076"/>
                <a:gd name="connsiteY36" fmla="*/ 386715 h 796291"/>
                <a:gd name="connsiteX37" fmla="*/ 4994909 w 5192076"/>
                <a:gd name="connsiteY37" fmla="*/ 269558 h 796291"/>
                <a:gd name="connsiteX38" fmla="*/ 5098732 w 5192076"/>
                <a:gd name="connsiteY38" fmla="*/ 217170 h 796291"/>
                <a:gd name="connsiteX39" fmla="*/ 4292917 w 5192076"/>
                <a:gd name="connsiteY39" fmla="*/ 217170 h 796291"/>
                <a:gd name="connsiteX40" fmla="*/ 4570094 w 5192076"/>
                <a:gd name="connsiteY40" fmla="*/ 505778 h 796291"/>
                <a:gd name="connsiteX41" fmla="*/ 4564379 w 5192076"/>
                <a:gd name="connsiteY41" fmla="*/ 562928 h 796291"/>
                <a:gd name="connsiteX42" fmla="*/ 4151947 w 5192076"/>
                <a:gd name="connsiteY42" fmla="*/ 562928 h 796291"/>
                <a:gd name="connsiteX43" fmla="*/ 4306252 w 5192076"/>
                <a:gd name="connsiteY43" fmla="*/ 665797 h 796291"/>
                <a:gd name="connsiteX44" fmla="*/ 4374831 w 5192076"/>
                <a:gd name="connsiteY44" fmla="*/ 652462 h 796291"/>
                <a:gd name="connsiteX45" fmla="*/ 4438649 w 5192076"/>
                <a:gd name="connsiteY45" fmla="*/ 639128 h 796291"/>
                <a:gd name="connsiteX46" fmla="*/ 4542472 w 5192076"/>
                <a:gd name="connsiteY46" fmla="*/ 677228 h 796291"/>
                <a:gd name="connsiteX47" fmla="*/ 4304347 w 5192076"/>
                <a:gd name="connsiteY47" fmla="*/ 794385 h 796291"/>
                <a:gd name="connsiteX48" fmla="*/ 4004309 w 5192076"/>
                <a:gd name="connsiteY48" fmla="*/ 505778 h 796291"/>
                <a:gd name="connsiteX49" fmla="*/ 4292917 w 5192076"/>
                <a:gd name="connsiteY49" fmla="*/ 217170 h 796291"/>
                <a:gd name="connsiteX50" fmla="*/ 2867977 w 5192076"/>
                <a:gd name="connsiteY50" fmla="*/ 217170 h 796291"/>
                <a:gd name="connsiteX51" fmla="*/ 3074670 w 5192076"/>
                <a:gd name="connsiteY51" fmla="*/ 442913 h 796291"/>
                <a:gd name="connsiteX52" fmla="*/ 3074670 w 5192076"/>
                <a:gd name="connsiteY52" fmla="*/ 779145 h 796291"/>
                <a:gd name="connsiteX53" fmla="*/ 2933700 w 5192076"/>
                <a:gd name="connsiteY53" fmla="*/ 638175 h 796291"/>
                <a:gd name="connsiteX54" fmla="*/ 2933700 w 5192076"/>
                <a:gd name="connsiteY54" fmla="*/ 461010 h 796291"/>
                <a:gd name="connsiteX55" fmla="*/ 2825115 w 5192076"/>
                <a:gd name="connsiteY55" fmla="*/ 348615 h 796291"/>
                <a:gd name="connsiteX56" fmla="*/ 2705100 w 5192076"/>
                <a:gd name="connsiteY56" fmla="*/ 483870 h 796291"/>
                <a:gd name="connsiteX57" fmla="*/ 2705100 w 5192076"/>
                <a:gd name="connsiteY57" fmla="*/ 779145 h 796291"/>
                <a:gd name="connsiteX58" fmla="*/ 2564130 w 5192076"/>
                <a:gd name="connsiteY58" fmla="*/ 638175 h 796291"/>
                <a:gd name="connsiteX59" fmla="*/ 2564130 w 5192076"/>
                <a:gd name="connsiteY59" fmla="*/ 232410 h 796291"/>
                <a:gd name="connsiteX60" fmla="*/ 2705100 w 5192076"/>
                <a:gd name="connsiteY60" fmla="*/ 232410 h 796291"/>
                <a:gd name="connsiteX61" fmla="*/ 2705100 w 5192076"/>
                <a:gd name="connsiteY61" fmla="*/ 293370 h 796291"/>
                <a:gd name="connsiteX62" fmla="*/ 2867977 w 5192076"/>
                <a:gd name="connsiteY62" fmla="*/ 217170 h 796291"/>
                <a:gd name="connsiteX63" fmla="*/ 2187892 w 5192076"/>
                <a:gd name="connsiteY63" fmla="*/ 217170 h 796291"/>
                <a:gd name="connsiteX64" fmla="*/ 2465069 w 5192076"/>
                <a:gd name="connsiteY64" fmla="*/ 505778 h 796291"/>
                <a:gd name="connsiteX65" fmla="*/ 2459354 w 5192076"/>
                <a:gd name="connsiteY65" fmla="*/ 562928 h 796291"/>
                <a:gd name="connsiteX66" fmla="*/ 2046922 w 5192076"/>
                <a:gd name="connsiteY66" fmla="*/ 562928 h 796291"/>
                <a:gd name="connsiteX67" fmla="*/ 2201227 w 5192076"/>
                <a:gd name="connsiteY67" fmla="*/ 665797 h 796291"/>
                <a:gd name="connsiteX68" fmla="*/ 2269807 w 5192076"/>
                <a:gd name="connsiteY68" fmla="*/ 652462 h 796291"/>
                <a:gd name="connsiteX69" fmla="*/ 2333624 w 5192076"/>
                <a:gd name="connsiteY69" fmla="*/ 639128 h 796291"/>
                <a:gd name="connsiteX70" fmla="*/ 2437447 w 5192076"/>
                <a:gd name="connsiteY70" fmla="*/ 677228 h 796291"/>
                <a:gd name="connsiteX71" fmla="*/ 2199322 w 5192076"/>
                <a:gd name="connsiteY71" fmla="*/ 794385 h 796291"/>
                <a:gd name="connsiteX72" fmla="*/ 1899284 w 5192076"/>
                <a:gd name="connsiteY72" fmla="*/ 505778 h 796291"/>
                <a:gd name="connsiteX73" fmla="*/ 2187892 w 5192076"/>
                <a:gd name="connsiteY73" fmla="*/ 217170 h 796291"/>
                <a:gd name="connsiteX74" fmla="*/ 1556384 w 5192076"/>
                <a:gd name="connsiteY74" fmla="*/ 217170 h 796291"/>
                <a:gd name="connsiteX75" fmla="*/ 1833562 w 5192076"/>
                <a:gd name="connsiteY75" fmla="*/ 505778 h 796291"/>
                <a:gd name="connsiteX76" fmla="*/ 1827847 w 5192076"/>
                <a:gd name="connsiteY76" fmla="*/ 562928 h 796291"/>
                <a:gd name="connsiteX77" fmla="*/ 1415415 w 5192076"/>
                <a:gd name="connsiteY77" fmla="*/ 562928 h 796291"/>
                <a:gd name="connsiteX78" fmla="*/ 1569719 w 5192076"/>
                <a:gd name="connsiteY78" fmla="*/ 665797 h 796291"/>
                <a:gd name="connsiteX79" fmla="*/ 1638299 w 5192076"/>
                <a:gd name="connsiteY79" fmla="*/ 652462 h 796291"/>
                <a:gd name="connsiteX80" fmla="*/ 1702117 w 5192076"/>
                <a:gd name="connsiteY80" fmla="*/ 639128 h 796291"/>
                <a:gd name="connsiteX81" fmla="*/ 1805940 w 5192076"/>
                <a:gd name="connsiteY81" fmla="*/ 677228 h 796291"/>
                <a:gd name="connsiteX82" fmla="*/ 1567815 w 5192076"/>
                <a:gd name="connsiteY82" fmla="*/ 794385 h 796291"/>
                <a:gd name="connsiteX83" fmla="*/ 1267777 w 5192076"/>
                <a:gd name="connsiteY83" fmla="*/ 505778 h 796291"/>
                <a:gd name="connsiteX84" fmla="*/ 1556384 w 5192076"/>
                <a:gd name="connsiteY84" fmla="*/ 217170 h 796291"/>
                <a:gd name="connsiteX85" fmla="*/ 3763327 w 5192076"/>
                <a:gd name="connsiteY85" fmla="*/ 1905 h 796291"/>
                <a:gd name="connsiteX86" fmla="*/ 3904297 w 5192076"/>
                <a:gd name="connsiteY86" fmla="*/ 142875 h 796291"/>
                <a:gd name="connsiteX87" fmla="*/ 3904297 w 5192076"/>
                <a:gd name="connsiteY87" fmla="*/ 779145 h 796291"/>
                <a:gd name="connsiteX88" fmla="*/ 3763327 w 5192076"/>
                <a:gd name="connsiteY88" fmla="*/ 638175 h 796291"/>
                <a:gd name="connsiteX89" fmla="*/ 397193 w 5192076"/>
                <a:gd name="connsiteY89" fmla="*/ 953 h 796291"/>
                <a:gd name="connsiteX90" fmla="*/ 703898 w 5192076"/>
                <a:gd name="connsiteY90" fmla="*/ 953 h 796291"/>
                <a:gd name="connsiteX91" fmla="*/ 544830 w 5192076"/>
                <a:gd name="connsiteY91" fmla="*/ 160020 h 796291"/>
                <a:gd name="connsiteX92" fmla="*/ 397193 w 5192076"/>
                <a:gd name="connsiteY92" fmla="*/ 160020 h 796291"/>
                <a:gd name="connsiteX93" fmla="*/ 158115 w 5192076"/>
                <a:gd name="connsiteY93" fmla="*/ 399098 h 796291"/>
                <a:gd name="connsiteX94" fmla="*/ 397193 w 5192076"/>
                <a:gd name="connsiteY94" fmla="*/ 638175 h 796291"/>
                <a:gd name="connsiteX95" fmla="*/ 622935 w 5192076"/>
                <a:gd name="connsiteY95" fmla="*/ 478156 h 796291"/>
                <a:gd name="connsiteX96" fmla="*/ 318135 w 5192076"/>
                <a:gd name="connsiteY96" fmla="*/ 478156 h 796291"/>
                <a:gd name="connsiteX97" fmla="*/ 478155 w 5192076"/>
                <a:gd name="connsiteY97" fmla="*/ 318136 h 796291"/>
                <a:gd name="connsiteX98" fmla="*/ 787718 w 5192076"/>
                <a:gd name="connsiteY98" fmla="*/ 318136 h 796291"/>
                <a:gd name="connsiteX99" fmla="*/ 796290 w 5192076"/>
                <a:gd name="connsiteY99" fmla="*/ 399098 h 796291"/>
                <a:gd name="connsiteX100" fmla="*/ 399098 w 5192076"/>
                <a:gd name="connsiteY100" fmla="*/ 796291 h 796291"/>
                <a:gd name="connsiteX101" fmla="*/ 0 w 5192076"/>
                <a:gd name="connsiteY101" fmla="*/ 398145 h 796291"/>
                <a:gd name="connsiteX102" fmla="*/ 397193 w 5192076"/>
                <a:gd name="connsiteY102" fmla="*/ 953 h 796291"/>
                <a:gd name="connsiteX103" fmla="*/ 3202305 w 5192076"/>
                <a:gd name="connsiteY103" fmla="*/ 0 h 796291"/>
                <a:gd name="connsiteX104" fmla="*/ 3659505 w 5192076"/>
                <a:gd name="connsiteY104" fmla="*/ 0 h 796291"/>
                <a:gd name="connsiteX105" fmla="*/ 3514724 w 5192076"/>
                <a:gd name="connsiteY105" fmla="*/ 144780 h 796291"/>
                <a:gd name="connsiteX106" fmla="*/ 3352799 w 5192076"/>
                <a:gd name="connsiteY106" fmla="*/ 144780 h 796291"/>
                <a:gd name="connsiteX107" fmla="*/ 3352799 w 5192076"/>
                <a:gd name="connsiteY107" fmla="*/ 326708 h 796291"/>
                <a:gd name="connsiteX108" fmla="*/ 3649980 w 5192076"/>
                <a:gd name="connsiteY108" fmla="*/ 326708 h 796291"/>
                <a:gd name="connsiteX109" fmla="*/ 3505199 w 5192076"/>
                <a:gd name="connsiteY109" fmla="*/ 471488 h 796291"/>
                <a:gd name="connsiteX110" fmla="*/ 3351847 w 5192076"/>
                <a:gd name="connsiteY110" fmla="*/ 471488 h 796291"/>
                <a:gd name="connsiteX111" fmla="*/ 3351847 w 5192076"/>
                <a:gd name="connsiteY111" fmla="*/ 778193 h 796291"/>
                <a:gd name="connsiteX112" fmla="*/ 3343274 w 5192076"/>
                <a:gd name="connsiteY112" fmla="*/ 778193 h 796291"/>
                <a:gd name="connsiteX113" fmla="*/ 3201352 w 5192076"/>
                <a:gd name="connsiteY113" fmla="*/ 636270 h 796291"/>
                <a:gd name="connsiteX114" fmla="*/ 3202305 w 5192076"/>
                <a:gd name="connsiteY114" fmla="*/ 636270 h 79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92076" h="796291">
                  <a:moveTo>
                    <a:pt x="4293869" y="342900"/>
                  </a:moveTo>
                  <a:cubicBezTo>
                    <a:pt x="4217669" y="342900"/>
                    <a:pt x="4166234" y="382905"/>
                    <a:pt x="4150042" y="453390"/>
                  </a:cubicBezTo>
                  <a:lnTo>
                    <a:pt x="4429124" y="453390"/>
                  </a:lnTo>
                  <a:cubicBezTo>
                    <a:pt x="4411979" y="374333"/>
                    <a:pt x="4352924" y="342900"/>
                    <a:pt x="4293869" y="342900"/>
                  </a:cubicBezTo>
                  <a:close/>
                  <a:moveTo>
                    <a:pt x="2188844" y="342900"/>
                  </a:moveTo>
                  <a:cubicBezTo>
                    <a:pt x="2112644" y="342900"/>
                    <a:pt x="2061209" y="382905"/>
                    <a:pt x="2045017" y="453390"/>
                  </a:cubicBezTo>
                  <a:lnTo>
                    <a:pt x="2324099" y="453390"/>
                  </a:lnTo>
                  <a:cubicBezTo>
                    <a:pt x="2306954" y="374333"/>
                    <a:pt x="2247899" y="342900"/>
                    <a:pt x="2188844" y="342900"/>
                  </a:cubicBezTo>
                  <a:close/>
                  <a:moveTo>
                    <a:pt x="1557337" y="342900"/>
                  </a:moveTo>
                  <a:cubicBezTo>
                    <a:pt x="1481137" y="342900"/>
                    <a:pt x="1429702" y="382905"/>
                    <a:pt x="1413509" y="453390"/>
                  </a:cubicBezTo>
                  <a:lnTo>
                    <a:pt x="1692592" y="453390"/>
                  </a:lnTo>
                  <a:cubicBezTo>
                    <a:pt x="1675447" y="374333"/>
                    <a:pt x="1616392" y="342900"/>
                    <a:pt x="1557337" y="342900"/>
                  </a:cubicBezTo>
                  <a:close/>
                  <a:moveTo>
                    <a:pt x="1168717" y="231457"/>
                  </a:moveTo>
                  <a:lnTo>
                    <a:pt x="1235392" y="231457"/>
                  </a:lnTo>
                  <a:lnTo>
                    <a:pt x="1235392" y="275272"/>
                  </a:lnTo>
                  <a:cubicBezTo>
                    <a:pt x="1235392" y="330517"/>
                    <a:pt x="1193482" y="376237"/>
                    <a:pt x="1140142" y="382905"/>
                  </a:cubicBezTo>
                  <a:lnTo>
                    <a:pt x="1137285" y="382905"/>
                  </a:lnTo>
                  <a:cubicBezTo>
                    <a:pt x="1088707" y="386715"/>
                    <a:pt x="1050607" y="427672"/>
                    <a:pt x="1050607" y="477202"/>
                  </a:cubicBezTo>
                  <a:lnTo>
                    <a:pt x="1050607" y="783907"/>
                  </a:lnTo>
                  <a:cubicBezTo>
                    <a:pt x="973455" y="783907"/>
                    <a:pt x="911542" y="721042"/>
                    <a:pt x="911542" y="643890"/>
                  </a:cubicBezTo>
                  <a:lnTo>
                    <a:pt x="911542" y="232410"/>
                  </a:lnTo>
                  <a:lnTo>
                    <a:pt x="1050607" y="232410"/>
                  </a:lnTo>
                  <a:lnTo>
                    <a:pt x="1050607" y="342899"/>
                  </a:lnTo>
                  <a:cubicBezTo>
                    <a:pt x="1050607" y="342899"/>
                    <a:pt x="1051560" y="231457"/>
                    <a:pt x="1168717" y="231457"/>
                  </a:cubicBezTo>
                  <a:close/>
                  <a:moveTo>
                    <a:pt x="5098732" y="217170"/>
                  </a:moveTo>
                  <a:cubicBezTo>
                    <a:pt x="5127307" y="217170"/>
                    <a:pt x="5153976" y="226695"/>
                    <a:pt x="5175884" y="242887"/>
                  </a:cubicBezTo>
                  <a:lnTo>
                    <a:pt x="4992051" y="499110"/>
                  </a:lnTo>
                  <a:lnTo>
                    <a:pt x="5192076" y="779145"/>
                  </a:lnTo>
                  <a:lnTo>
                    <a:pt x="5029199" y="779145"/>
                  </a:lnTo>
                  <a:lnTo>
                    <a:pt x="4911089" y="612458"/>
                  </a:lnTo>
                  <a:lnTo>
                    <a:pt x="4818697" y="741997"/>
                  </a:lnTo>
                  <a:cubicBezTo>
                    <a:pt x="4794884" y="773430"/>
                    <a:pt x="4757737" y="794385"/>
                    <a:pt x="4714874" y="794385"/>
                  </a:cubicBezTo>
                  <a:cubicBezTo>
                    <a:pt x="4685347" y="794385"/>
                    <a:pt x="4658677" y="784860"/>
                    <a:pt x="4636769" y="767715"/>
                  </a:cubicBezTo>
                  <a:lnTo>
                    <a:pt x="4829174" y="500062"/>
                  </a:lnTo>
                  <a:lnTo>
                    <a:pt x="4637722" y="231458"/>
                  </a:lnTo>
                  <a:lnTo>
                    <a:pt x="4800599" y="231458"/>
                  </a:lnTo>
                  <a:lnTo>
                    <a:pt x="4911089" y="386715"/>
                  </a:lnTo>
                  <a:lnTo>
                    <a:pt x="4994909" y="269558"/>
                  </a:lnTo>
                  <a:cubicBezTo>
                    <a:pt x="5018722" y="238125"/>
                    <a:pt x="5055869" y="217170"/>
                    <a:pt x="5098732" y="217170"/>
                  </a:cubicBezTo>
                  <a:close/>
                  <a:moveTo>
                    <a:pt x="4292917" y="217170"/>
                  </a:moveTo>
                  <a:cubicBezTo>
                    <a:pt x="4454842" y="217170"/>
                    <a:pt x="4570094" y="344805"/>
                    <a:pt x="4570094" y="505778"/>
                  </a:cubicBezTo>
                  <a:cubicBezTo>
                    <a:pt x="4570094" y="525780"/>
                    <a:pt x="4568189" y="544830"/>
                    <a:pt x="4564379" y="562928"/>
                  </a:cubicBezTo>
                  <a:lnTo>
                    <a:pt x="4151947" y="562928"/>
                  </a:lnTo>
                  <a:cubicBezTo>
                    <a:pt x="4171949" y="635318"/>
                    <a:pt x="4231956" y="665797"/>
                    <a:pt x="4306252" y="665797"/>
                  </a:cubicBezTo>
                  <a:cubicBezTo>
                    <a:pt x="4331969" y="665797"/>
                    <a:pt x="4354829" y="661035"/>
                    <a:pt x="4374831" y="652462"/>
                  </a:cubicBezTo>
                  <a:cubicBezTo>
                    <a:pt x="4394834" y="643890"/>
                    <a:pt x="4415789" y="639128"/>
                    <a:pt x="4438649" y="639128"/>
                  </a:cubicBezTo>
                  <a:cubicBezTo>
                    <a:pt x="4478654" y="639128"/>
                    <a:pt x="4514849" y="653415"/>
                    <a:pt x="4542472" y="677228"/>
                  </a:cubicBezTo>
                  <a:cubicBezTo>
                    <a:pt x="4491037" y="751522"/>
                    <a:pt x="4409122" y="794385"/>
                    <a:pt x="4304347" y="794385"/>
                  </a:cubicBezTo>
                  <a:cubicBezTo>
                    <a:pt x="4120514" y="794385"/>
                    <a:pt x="4004309" y="668655"/>
                    <a:pt x="4004309" y="505778"/>
                  </a:cubicBezTo>
                  <a:cubicBezTo>
                    <a:pt x="4004309" y="342900"/>
                    <a:pt x="4121467" y="217170"/>
                    <a:pt x="4292917" y="217170"/>
                  </a:cubicBezTo>
                  <a:close/>
                  <a:moveTo>
                    <a:pt x="2867977" y="217170"/>
                  </a:moveTo>
                  <a:cubicBezTo>
                    <a:pt x="2984182" y="216218"/>
                    <a:pt x="3074670" y="297180"/>
                    <a:pt x="3074670" y="442913"/>
                  </a:cubicBezTo>
                  <a:lnTo>
                    <a:pt x="3074670" y="779145"/>
                  </a:lnTo>
                  <a:cubicBezTo>
                    <a:pt x="2996565" y="779145"/>
                    <a:pt x="2933700" y="716280"/>
                    <a:pt x="2933700" y="638175"/>
                  </a:cubicBezTo>
                  <a:lnTo>
                    <a:pt x="2933700" y="461010"/>
                  </a:lnTo>
                  <a:cubicBezTo>
                    <a:pt x="2933700" y="386715"/>
                    <a:pt x="2888932" y="348615"/>
                    <a:pt x="2825115" y="348615"/>
                  </a:cubicBezTo>
                  <a:cubicBezTo>
                    <a:pt x="2756535" y="348615"/>
                    <a:pt x="2705100" y="389573"/>
                    <a:pt x="2705100" y="483870"/>
                  </a:cubicBezTo>
                  <a:lnTo>
                    <a:pt x="2705100" y="779145"/>
                  </a:lnTo>
                  <a:cubicBezTo>
                    <a:pt x="2626995" y="779145"/>
                    <a:pt x="2564130" y="716280"/>
                    <a:pt x="2564130" y="638175"/>
                  </a:cubicBezTo>
                  <a:lnTo>
                    <a:pt x="2564130" y="232410"/>
                  </a:lnTo>
                  <a:lnTo>
                    <a:pt x="2705100" y="232410"/>
                  </a:lnTo>
                  <a:lnTo>
                    <a:pt x="2705100" y="293370"/>
                  </a:lnTo>
                  <a:cubicBezTo>
                    <a:pt x="2737485" y="243840"/>
                    <a:pt x="2794635" y="217170"/>
                    <a:pt x="2867977" y="217170"/>
                  </a:cubicBezTo>
                  <a:close/>
                  <a:moveTo>
                    <a:pt x="2187892" y="217170"/>
                  </a:moveTo>
                  <a:cubicBezTo>
                    <a:pt x="2349817" y="217170"/>
                    <a:pt x="2465069" y="344805"/>
                    <a:pt x="2465069" y="505778"/>
                  </a:cubicBezTo>
                  <a:cubicBezTo>
                    <a:pt x="2465069" y="525780"/>
                    <a:pt x="2463164" y="544830"/>
                    <a:pt x="2459354" y="562928"/>
                  </a:cubicBezTo>
                  <a:lnTo>
                    <a:pt x="2046922" y="562928"/>
                  </a:lnTo>
                  <a:cubicBezTo>
                    <a:pt x="2066924" y="635318"/>
                    <a:pt x="2126932" y="665797"/>
                    <a:pt x="2201227" y="665797"/>
                  </a:cubicBezTo>
                  <a:cubicBezTo>
                    <a:pt x="2226944" y="665797"/>
                    <a:pt x="2249804" y="661035"/>
                    <a:pt x="2269807" y="652462"/>
                  </a:cubicBezTo>
                  <a:cubicBezTo>
                    <a:pt x="2289809" y="643890"/>
                    <a:pt x="2310764" y="639128"/>
                    <a:pt x="2333624" y="639128"/>
                  </a:cubicBezTo>
                  <a:cubicBezTo>
                    <a:pt x="2373629" y="639128"/>
                    <a:pt x="2409824" y="653415"/>
                    <a:pt x="2437447" y="677228"/>
                  </a:cubicBezTo>
                  <a:cubicBezTo>
                    <a:pt x="2386012" y="751522"/>
                    <a:pt x="2304097" y="794385"/>
                    <a:pt x="2199322" y="794385"/>
                  </a:cubicBezTo>
                  <a:cubicBezTo>
                    <a:pt x="2015489" y="794385"/>
                    <a:pt x="1899284" y="668655"/>
                    <a:pt x="1899284" y="505778"/>
                  </a:cubicBezTo>
                  <a:cubicBezTo>
                    <a:pt x="1899284" y="342900"/>
                    <a:pt x="2016442" y="217170"/>
                    <a:pt x="2187892" y="217170"/>
                  </a:cubicBezTo>
                  <a:close/>
                  <a:moveTo>
                    <a:pt x="1556384" y="217170"/>
                  </a:moveTo>
                  <a:cubicBezTo>
                    <a:pt x="1718309" y="217170"/>
                    <a:pt x="1833562" y="344805"/>
                    <a:pt x="1833562" y="505778"/>
                  </a:cubicBezTo>
                  <a:cubicBezTo>
                    <a:pt x="1833562" y="525780"/>
                    <a:pt x="1831657" y="544830"/>
                    <a:pt x="1827847" y="562928"/>
                  </a:cubicBezTo>
                  <a:lnTo>
                    <a:pt x="1415415" y="562928"/>
                  </a:lnTo>
                  <a:cubicBezTo>
                    <a:pt x="1435417" y="635318"/>
                    <a:pt x="1495424" y="665797"/>
                    <a:pt x="1569719" y="665797"/>
                  </a:cubicBezTo>
                  <a:cubicBezTo>
                    <a:pt x="1595437" y="665797"/>
                    <a:pt x="1618297" y="661035"/>
                    <a:pt x="1638299" y="652462"/>
                  </a:cubicBezTo>
                  <a:cubicBezTo>
                    <a:pt x="1658302" y="643890"/>
                    <a:pt x="1679257" y="639128"/>
                    <a:pt x="1702117" y="639128"/>
                  </a:cubicBezTo>
                  <a:cubicBezTo>
                    <a:pt x="1742122" y="639128"/>
                    <a:pt x="1778317" y="653415"/>
                    <a:pt x="1805940" y="677228"/>
                  </a:cubicBezTo>
                  <a:cubicBezTo>
                    <a:pt x="1754504" y="751522"/>
                    <a:pt x="1672590" y="794385"/>
                    <a:pt x="1567815" y="794385"/>
                  </a:cubicBezTo>
                  <a:cubicBezTo>
                    <a:pt x="1383982" y="794385"/>
                    <a:pt x="1267777" y="668655"/>
                    <a:pt x="1267777" y="505778"/>
                  </a:cubicBezTo>
                  <a:cubicBezTo>
                    <a:pt x="1267777" y="342900"/>
                    <a:pt x="1384934" y="217170"/>
                    <a:pt x="1556384" y="217170"/>
                  </a:cubicBezTo>
                  <a:close/>
                  <a:moveTo>
                    <a:pt x="3763327" y="1905"/>
                  </a:moveTo>
                  <a:cubicBezTo>
                    <a:pt x="3841432" y="1905"/>
                    <a:pt x="3904297" y="64770"/>
                    <a:pt x="3904297" y="142875"/>
                  </a:cubicBezTo>
                  <a:lnTo>
                    <a:pt x="3904297" y="779145"/>
                  </a:lnTo>
                  <a:cubicBezTo>
                    <a:pt x="3826192" y="779145"/>
                    <a:pt x="3763327" y="716280"/>
                    <a:pt x="3763327" y="638175"/>
                  </a:cubicBezTo>
                  <a:close/>
                  <a:moveTo>
                    <a:pt x="397193" y="953"/>
                  </a:moveTo>
                  <a:lnTo>
                    <a:pt x="703898" y="953"/>
                  </a:lnTo>
                  <a:cubicBezTo>
                    <a:pt x="703898" y="88583"/>
                    <a:pt x="632460" y="160020"/>
                    <a:pt x="544830" y="160020"/>
                  </a:cubicBezTo>
                  <a:lnTo>
                    <a:pt x="397193" y="160020"/>
                  </a:lnTo>
                  <a:cubicBezTo>
                    <a:pt x="264795" y="160020"/>
                    <a:pt x="158115" y="266700"/>
                    <a:pt x="158115" y="399098"/>
                  </a:cubicBezTo>
                  <a:cubicBezTo>
                    <a:pt x="158115" y="531496"/>
                    <a:pt x="264795" y="638175"/>
                    <a:pt x="397193" y="638175"/>
                  </a:cubicBezTo>
                  <a:cubicBezTo>
                    <a:pt x="501015" y="638175"/>
                    <a:pt x="589598" y="571500"/>
                    <a:pt x="622935" y="478156"/>
                  </a:cubicBezTo>
                  <a:lnTo>
                    <a:pt x="318135" y="478156"/>
                  </a:lnTo>
                  <a:cubicBezTo>
                    <a:pt x="318135" y="389573"/>
                    <a:pt x="389573" y="318136"/>
                    <a:pt x="478155" y="318136"/>
                  </a:cubicBezTo>
                  <a:lnTo>
                    <a:pt x="787718" y="318136"/>
                  </a:lnTo>
                  <a:cubicBezTo>
                    <a:pt x="793433" y="343853"/>
                    <a:pt x="796290" y="371475"/>
                    <a:pt x="796290" y="399098"/>
                  </a:cubicBezTo>
                  <a:cubicBezTo>
                    <a:pt x="796290" y="618173"/>
                    <a:pt x="618173" y="796291"/>
                    <a:pt x="399098" y="796291"/>
                  </a:cubicBezTo>
                  <a:cubicBezTo>
                    <a:pt x="180023" y="796291"/>
                    <a:pt x="0" y="618173"/>
                    <a:pt x="0" y="398145"/>
                  </a:cubicBezTo>
                  <a:cubicBezTo>
                    <a:pt x="0" y="179070"/>
                    <a:pt x="178118" y="953"/>
                    <a:pt x="397193" y="953"/>
                  </a:cubicBezTo>
                  <a:close/>
                  <a:moveTo>
                    <a:pt x="3202305" y="0"/>
                  </a:moveTo>
                  <a:lnTo>
                    <a:pt x="3659505" y="0"/>
                  </a:lnTo>
                  <a:cubicBezTo>
                    <a:pt x="3659505" y="80010"/>
                    <a:pt x="3594734" y="144780"/>
                    <a:pt x="3514724" y="144780"/>
                  </a:cubicBezTo>
                  <a:lnTo>
                    <a:pt x="3352799" y="144780"/>
                  </a:lnTo>
                  <a:lnTo>
                    <a:pt x="3352799" y="326708"/>
                  </a:lnTo>
                  <a:lnTo>
                    <a:pt x="3649980" y="326708"/>
                  </a:lnTo>
                  <a:cubicBezTo>
                    <a:pt x="3649980" y="406718"/>
                    <a:pt x="3585209" y="471488"/>
                    <a:pt x="3505199" y="471488"/>
                  </a:cubicBezTo>
                  <a:lnTo>
                    <a:pt x="3351847" y="471488"/>
                  </a:lnTo>
                  <a:lnTo>
                    <a:pt x="3351847" y="778193"/>
                  </a:lnTo>
                  <a:lnTo>
                    <a:pt x="3343274" y="778193"/>
                  </a:lnTo>
                  <a:cubicBezTo>
                    <a:pt x="3265169" y="778193"/>
                    <a:pt x="3201352" y="715328"/>
                    <a:pt x="3201352" y="636270"/>
                  </a:cubicBezTo>
                  <a:lnTo>
                    <a:pt x="3202305" y="636270"/>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172154"/>
                </a:solidFill>
                <a:effectLst/>
                <a:uLnTx/>
                <a:uFillTx/>
                <a:latin typeface="Avenir Book"/>
                <a:cs typeface="Arial"/>
              </a:endParaRPr>
            </a:p>
          </p:txBody>
        </p:sp>
      </p:grpSp>
      <p:pic>
        <p:nvPicPr>
          <p:cNvPr id="2" name="Picture 2">
            <a:extLst>
              <a:ext uri="{FF2B5EF4-FFF2-40B4-BE49-F238E27FC236}">
                <a16:creationId xmlns:a16="http://schemas.microsoft.com/office/drawing/2014/main" id="{A070E0BF-814A-1178-DF48-F5EF7460F0A3}"/>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94776" y="6253075"/>
            <a:ext cx="571749" cy="380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018785"/>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Foto - horizontaal">
    <p:spTree>
      <p:nvGrpSpPr>
        <p:cNvPr id="1" name=""/>
        <p:cNvGrpSpPr/>
        <p:nvPr/>
      </p:nvGrpSpPr>
      <p:grpSpPr>
        <a:xfrm>
          <a:off x="0" y="0"/>
          <a:ext cx="0" cy="0"/>
          <a:chOff x="0" y="0"/>
          <a:chExt cx="0" cy="0"/>
        </a:xfrm>
      </p:grpSpPr>
      <p:sp>
        <p:nvSpPr>
          <p:cNvPr id="130" name="Dianummer"/>
          <p:cNvSpPr>
            <a:spLocks noGrp="1"/>
          </p:cNvSpPr>
          <p:nvPr>
            <p:ph type="sldNum" sz="quarter" idx="2"/>
          </p:nvPr>
        </p:nvSpPr>
        <p:spPr>
          <a:prstGeom prst="rect">
            <a:avLst/>
          </a:prstGeom>
        </p:spPr>
        <p:txBody>
          <a:bodyPr/>
          <a:lstStyle/>
          <a:p>
            <a:fld id="{D2D4539B-BA63-4FDA-A896-DC7ADFB317E4}" type="slidenum">
              <a:rPr lang="fr-FR" smtClean="0"/>
              <a:t>‹N°›</a:t>
            </a:fld>
            <a:endParaRPr lang="fr-FR"/>
          </a:p>
        </p:txBody>
      </p:sp>
      <p:cxnSp>
        <p:nvCxnSpPr>
          <p:cNvPr id="6" name="Connecteur droit 5">
            <a:extLst>
              <a:ext uri="{FF2B5EF4-FFF2-40B4-BE49-F238E27FC236}">
                <a16:creationId xmlns:a16="http://schemas.microsoft.com/office/drawing/2014/main" id="{5ACEB8C8-C132-4BAD-9C95-C2133479645E}"/>
              </a:ext>
            </a:extLst>
          </p:cNvPr>
          <p:cNvCxnSpPr>
            <a:cxnSpLocks/>
          </p:cNvCxnSpPr>
          <p:nvPr/>
        </p:nvCxnSpPr>
        <p:spPr>
          <a:xfrm>
            <a:off x="371475" y="1947010"/>
            <a:ext cx="5364163"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4EC4B14C-49CA-4E1A-89F6-AF431B50392E}"/>
              </a:ext>
            </a:extLst>
          </p:cNvPr>
          <p:cNvCxnSpPr>
            <a:cxnSpLocks/>
          </p:cNvCxnSpPr>
          <p:nvPr/>
        </p:nvCxnSpPr>
        <p:spPr>
          <a:xfrm>
            <a:off x="6456363" y="1949817"/>
            <a:ext cx="5364162" cy="280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iteltekst">
            <a:extLst>
              <a:ext uri="{FF2B5EF4-FFF2-40B4-BE49-F238E27FC236}">
                <a16:creationId xmlns:a16="http://schemas.microsoft.com/office/drawing/2014/main" id="{4FBBF3A7-9AF9-45B1-A84E-8B36459F06EA}"/>
              </a:ext>
            </a:extLst>
          </p:cNvPr>
          <p:cNvSpPr>
            <a:spLocks noGrp="1"/>
          </p:cNvSpPr>
          <p:nvPr>
            <p:ph type="title" hasCustomPrompt="1"/>
          </p:nvPr>
        </p:nvSpPr>
        <p:spPr>
          <a:xfrm>
            <a:off x="850488" y="310560"/>
            <a:ext cx="10970037" cy="912185"/>
          </a:xfrm>
          <a:prstGeom prst="rect">
            <a:avLst/>
          </a:prstGeom>
        </p:spPr>
        <p:txBody>
          <a:bodyPr>
            <a:noAutofit/>
          </a:bodyPr>
          <a:lstStyle>
            <a:lvl1pPr>
              <a:defRPr sz="3600" b="1" i="0" u="none" strike="noStrike" cap="none" spc="0" baseline="0" dirty="0">
                <a:ln>
                  <a:noFill/>
                </a:ln>
                <a:solidFill>
                  <a:srgbClr val="313234"/>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a:t>
            </a:r>
            <a:endParaRPr/>
          </a:p>
        </p:txBody>
      </p:sp>
      <p:sp>
        <p:nvSpPr>
          <p:cNvPr id="16" name="&gt;">
            <a:extLst>
              <a:ext uri="{FF2B5EF4-FFF2-40B4-BE49-F238E27FC236}">
                <a16:creationId xmlns:a16="http://schemas.microsoft.com/office/drawing/2014/main" id="{573D481C-53AE-4DD8-9D05-F45FF7D50E48}"/>
              </a:ext>
            </a:extLst>
          </p:cNvPr>
          <p:cNvSpPr/>
          <p:nvPr/>
        </p:nvSpPr>
        <p:spPr>
          <a:xfrm>
            <a:off x="325474" y="310560"/>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t>&gt;</a:t>
            </a:r>
          </a:p>
        </p:txBody>
      </p:sp>
      <p:cxnSp>
        <p:nvCxnSpPr>
          <p:cNvPr id="12" name="Connecteur droit 11">
            <a:extLst>
              <a:ext uri="{FF2B5EF4-FFF2-40B4-BE49-F238E27FC236}">
                <a16:creationId xmlns:a16="http://schemas.microsoft.com/office/drawing/2014/main" id="{4DCA3DB3-0412-44B4-97AF-D1CD446AC9D8}"/>
              </a:ext>
            </a:extLst>
          </p:cNvPr>
          <p:cNvCxnSpPr>
            <a:cxnSpLocks/>
          </p:cNvCxnSpPr>
          <p:nvPr/>
        </p:nvCxnSpPr>
        <p:spPr>
          <a:xfrm>
            <a:off x="371475" y="4316835"/>
            <a:ext cx="5364163"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Espace réservé du texte 6">
            <a:extLst>
              <a:ext uri="{FF2B5EF4-FFF2-40B4-BE49-F238E27FC236}">
                <a16:creationId xmlns:a16="http://schemas.microsoft.com/office/drawing/2014/main" id="{9D1C6CF7-0ECC-4F91-B113-F9A653E08B51}"/>
              </a:ext>
            </a:extLst>
          </p:cNvPr>
          <p:cNvSpPr>
            <a:spLocks noGrp="1"/>
          </p:cNvSpPr>
          <p:nvPr>
            <p:ph type="body" sz="quarter" idx="12" hasCustomPrompt="1"/>
          </p:nvPr>
        </p:nvSpPr>
        <p:spPr>
          <a:xfrm>
            <a:off x="376958" y="2106869"/>
            <a:ext cx="5358680" cy="1701428"/>
          </a:xfrm>
        </p:spPr>
        <p:txBody>
          <a:bodyPr anchor="t">
            <a:normAutofit/>
          </a:bodyPr>
          <a:lstStyle>
            <a:lvl1pPr marL="0" indent="0">
              <a:buNone/>
              <a:defRPr lang="fr-FR" sz="18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sp>
        <p:nvSpPr>
          <p:cNvPr id="14" name="Espace réservé du texte 6">
            <a:extLst>
              <a:ext uri="{FF2B5EF4-FFF2-40B4-BE49-F238E27FC236}">
                <a16:creationId xmlns:a16="http://schemas.microsoft.com/office/drawing/2014/main" id="{B8917B7C-1584-4F7C-9935-ED2402CE0B22}"/>
              </a:ext>
            </a:extLst>
          </p:cNvPr>
          <p:cNvSpPr>
            <a:spLocks noGrp="1"/>
          </p:cNvSpPr>
          <p:nvPr>
            <p:ph type="body" sz="quarter" idx="13" hasCustomPrompt="1"/>
          </p:nvPr>
        </p:nvSpPr>
        <p:spPr>
          <a:xfrm>
            <a:off x="376958" y="4607297"/>
            <a:ext cx="5358680" cy="1701428"/>
          </a:xfrm>
        </p:spPr>
        <p:txBody>
          <a:bodyPr anchor="t">
            <a:normAutofit/>
          </a:bodyPr>
          <a:lstStyle>
            <a:lvl1pPr marL="0" indent="0">
              <a:buNone/>
              <a:defRPr lang="fr-FR" sz="18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cxnSp>
        <p:nvCxnSpPr>
          <p:cNvPr id="18" name="Connecteur droit 17">
            <a:extLst>
              <a:ext uri="{FF2B5EF4-FFF2-40B4-BE49-F238E27FC236}">
                <a16:creationId xmlns:a16="http://schemas.microsoft.com/office/drawing/2014/main" id="{E8E74BF5-B805-4A7C-9302-D397DC8DB2CF}"/>
              </a:ext>
            </a:extLst>
          </p:cNvPr>
          <p:cNvCxnSpPr>
            <a:cxnSpLocks/>
          </p:cNvCxnSpPr>
          <p:nvPr/>
        </p:nvCxnSpPr>
        <p:spPr>
          <a:xfrm>
            <a:off x="6456362" y="4316835"/>
            <a:ext cx="5364163" cy="5615"/>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Espace réservé du texte 6">
            <a:extLst>
              <a:ext uri="{FF2B5EF4-FFF2-40B4-BE49-F238E27FC236}">
                <a16:creationId xmlns:a16="http://schemas.microsoft.com/office/drawing/2014/main" id="{C3DFD26B-CB23-49E3-AD60-79FAF4B65657}"/>
              </a:ext>
            </a:extLst>
          </p:cNvPr>
          <p:cNvSpPr>
            <a:spLocks noGrp="1"/>
          </p:cNvSpPr>
          <p:nvPr>
            <p:ph type="body" sz="quarter" idx="14" hasCustomPrompt="1"/>
          </p:nvPr>
        </p:nvSpPr>
        <p:spPr>
          <a:xfrm>
            <a:off x="6461845" y="2106869"/>
            <a:ext cx="5358680" cy="1701428"/>
          </a:xfrm>
        </p:spPr>
        <p:txBody>
          <a:bodyPr anchor="t">
            <a:normAutofit/>
          </a:bodyPr>
          <a:lstStyle>
            <a:lvl1pPr marL="0" indent="0">
              <a:buNone/>
              <a:defRPr lang="fr-FR" sz="18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sp>
        <p:nvSpPr>
          <p:cNvPr id="22" name="Espace réservé du texte 6">
            <a:extLst>
              <a:ext uri="{FF2B5EF4-FFF2-40B4-BE49-F238E27FC236}">
                <a16:creationId xmlns:a16="http://schemas.microsoft.com/office/drawing/2014/main" id="{CDE9F7AC-CB69-4F90-882A-2DA8ED8CF543}"/>
              </a:ext>
            </a:extLst>
          </p:cNvPr>
          <p:cNvSpPr>
            <a:spLocks noGrp="1"/>
          </p:cNvSpPr>
          <p:nvPr>
            <p:ph type="body" sz="quarter" idx="15" hasCustomPrompt="1"/>
          </p:nvPr>
        </p:nvSpPr>
        <p:spPr>
          <a:xfrm>
            <a:off x="6461845" y="4596353"/>
            <a:ext cx="5358680" cy="1701428"/>
          </a:xfrm>
        </p:spPr>
        <p:txBody>
          <a:bodyPr anchor="t">
            <a:normAutofit/>
          </a:bodyPr>
          <a:lstStyle>
            <a:lvl1pPr marL="0" indent="0">
              <a:buNone/>
              <a:defRPr lang="fr-FR" sz="1800" b="0" i="0" u="none" strike="noStrike" cap="none" spc="0" baseline="0" dirty="0">
                <a:ln>
                  <a:noFill/>
                </a:ln>
                <a:solidFill>
                  <a:srgbClr val="313234"/>
                </a:solidFill>
                <a:uFillTx/>
                <a:latin typeface="Source Sans Pro Light"/>
                <a:ea typeface="Calibri Light"/>
                <a:cs typeface="Source Sans Pro Light"/>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exte</a:t>
            </a:r>
          </a:p>
        </p:txBody>
      </p:sp>
      <p:sp>
        <p:nvSpPr>
          <p:cNvPr id="3" name="Espace réservé du texte 2">
            <a:extLst>
              <a:ext uri="{FF2B5EF4-FFF2-40B4-BE49-F238E27FC236}">
                <a16:creationId xmlns:a16="http://schemas.microsoft.com/office/drawing/2014/main" id="{CFB17395-57DA-464A-BAC1-8F404617D4F3}"/>
              </a:ext>
            </a:extLst>
          </p:cNvPr>
          <p:cNvSpPr>
            <a:spLocks noGrp="1"/>
          </p:cNvSpPr>
          <p:nvPr>
            <p:ph type="body" sz="quarter" idx="16" hasCustomPrompt="1"/>
          </p:nvPr>
        </p:nvSpPr>
        <p:spPr>
          <a:xfrm>
            <a:off x="376238" y="1536912"/>
            <a:ext cx="5359400" cy="401638"/>
          </a:xfrm>
        </p:spPr>
        <p:txBody>
          <a:bodyPr anchor="t">
            <a:noAutofit/>
          </a:bodyPr>
          <a:lstStyle>
            <a:lvl1pPr marL="0" indent="0">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itre</a:t>
            </a:r>
          </a:p>
        </p:txBody>
      </p:sp>
      <p:sp>
        <p:nvSpPr>
          <p:cNvPr id="23" name="Espace réservé du texte 2">
            <a:extLst>
              <a:ext uri="{FF2B5EF4-FFF2-40B4-BE49-F238E27FC236}">
                <a16:creationId xmlns:a16="http://schemas.microsoft.com/office/drawing/2014/main" id="{2BA7D40C-53E8-4ADA-BF90-2AE1C2A367E9}"/>
              </a:ext>
            </a:extLst>
          </p:cNvPr>
          <p:cNvSpPr>
            <a:spLocks noGrp="1"/>
          </p:cNvSpPr>
          <p:nvPr>
            <p:ph type="body" sz="quarter" idx="17" hasCustomPrompt="1"/>
          </p:nvPr>
        </p:nvSpPr>
        <p:spPr>
          <a:xfrm>
            <a:off x="376238" y="3915961"/>
            <a:ext cx="5359400" cy="401638"/>
          </a:xfrm>
        </p:spPr>
        <p:txBody>
          <a:bodyPr anchor="t">
            <a:noAutofit/>
          </a:bodyPr>
          <a:lstStyle>
            <a:lvl1pPr marL="0" indent="0">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Source Sans Pro" panose="020B0703030403020204" pitchFamily="34" charset="0"/>
                <a:sym typeface="Calibri Light"/>
              </a:defRPr>
            </a:lvl1pPr>
          </a:lstStyle>
          <a:p>
            <a:pPr lvl="0"/>
            <a:r>
              <a:rPr lang="fr-FR"/>
              <a:t>Titre</a:t>
            </a:r>
          </a:p>
        </p:txBody>
      </p:sp>
      <p:sp>
        <p:nvSpPr>
          <p:cNvPr id="25" name="Espace réservé du texte 2">
            <a:extLst>
              <a:ext uri="{FF2B5EF4-FFF2-40B4-BE49-F238E27FC236}">
                <a16:creationId xmlns:a16="http://schemas.microsoft.com/office/drawing/2014/main" id="{5930A357-862D-41E9-ADC4-DF4A653B40B9}"/>
              </a:ext>
            </a:extLst>
          </p:cNvPr>
          <p:cNvSpPr>
            <a:spLocks noGrp="1"/>
          </p:cNvSpPr>
          <p:nvPr>
            <p:ph type="body" sz="quarter" idx="19" hasCustomPrompt="1"/>
          </p:nvPr>
        </p:nvSpPr>
        <p:spPr>
          <a:xfrm>
            <a:off x="6461125" y="1526691"/>
            <a:ext cx="5359400" cy="401638"/>
          </a:xfrm>
        </p:spPr>
        <p:txBody>
          <a:bodyPr anchor="t">
            <a:noAutofit/>
          </a:bodyPr>
          <a:lstStyle>
            <a:lvl1pPr marL="0" indent="0" algn="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mj-cs"/>
                <a:sym typeface="Calibri"/>
              </a:defRPr>
            </a:lvl1pPr>
          </a:lstStyle>
          <a:p>
            <a:pPr marL="0" marR="0" lvl="0" indent="0" algn="r" defTabSz="412750" eaLnBrk="1" latinLnBrk="0" hangingPunct="1">
              <a:lnSpc>
                <a:spcPct val="100000"/>
              </a:lnSpc>
              <a:spcBef>
                <a:spcPts val="2950"/>
              </a:spcBef>
              <a:spcAft>
                <a:spcPts val="0"/>
              </a:spcAft>
              <a:buClr>
                <a:srgbClr val="00B6C5"/>
              </a:buClr>
              <a:buSzPct val="75000"/>
              <a:buFontTx/>
              <a:buNone/>
              <a:tabLst/>
            </a:pPr>
            <a:r>
              <a:rPr lang="fr-FR"/>
              <a:t>Titre</a:t>
            </a:r>
          </a:p>
        </p:txBody>
      </p:sp>
      <p:sp>
        <p:nvSpPr>
          <p:cNvPr id="5" name="Espace réservé du texte 4">
            <a:extLst>
              <a:ext uri="{FF2B5EF4-FFF2-40B4-BE49-F238E27FC236}">
                <a16:creationId xmlns:a16="http://schemas.microsoft.com/office/drawing/2014/main" id="{4F1336D1-DEC9-4C9B-A3F3-C34952B4341E}"/>
              </a:ext>
            </a:extLst>
          </p:cNvPr>
          <p:cNvSpPr>
            <a:spLocks noGrp="1"/>
          </p:cNvSpPr>
          <p:nvPr>
            <p:ph type="body" sz="quarter" idx="20" hasCustomPrompt="1"/>
          </p:nvPr>
        </p:nvSpPr>
        <p:spPr>
          <a:xfrm>
            <a:off x="6456363" y="3916363"/>
            <a:ext cx="5364162" cy="400050"/>
          </a:xfrm>
        </p:spPr>
        <p:txBody>
          <a:bodyPr anchor="t">
            <a:noAutofit/>
          </a:bodyPr>
          <a:lstStyle>
            <a:lvl1pPr marL="0" indent="0" algn="r">
              <a:buNone/>
              <a:defRPr lang="fr-FR" sz="2000" b="1" i="0" u="none" strike="noStrike" cap="none" spc="0" baseline="0" dirty="0">
                <a:ln>
                  <a:noFill/>
                </a:ln>
                <a:solidFill>
                  <a:srgbClr val="313234"/>
                </a:solidFill>
                <a:uFillTx/>
                <a:latin typeface="Source Sans Pro" panose="020B0703030403020204" pitchFamily="34" charset="0"/>
                <a:ea typeface="Source Sans Pro" panose="020B0703030403020204" pitchFamily="34" charset="0"/>
                <a:cs typeface="+mj-cs"/>
                <a:sym typeface="Calibri"/>
              </a:defRPr>
            </a:lvl1pPr>
          </a:lstStyle>
          <a:p>
            <a:pPr lvl="0"/>
            <a:r>
              <a:rPr lang="fr-FR"/>
              <a:t>Titre</a:t>
            </a:r>
          </a:p>
        </p:txBody>
      </p:sp>
      <p:pic>
        <p:nvPicPr>
          <p:cNvPr id="27" name="Image 26">
            <a:extLst>
              <a:ext uri="{FF2B5EF4-FFF2-40B4-BE49-F238E27FC236}">
                <a16:creationId xmlns:a16="http://schemas.microsoft.com/office/drawing/2014/main" id="{9373278E-DA03-4676-994A-6DD539071A05}"/>
              </a:ext>
            </a:extLst>
          </p:cNvPr>
          <p:cNvPicPr>
            <a:picLocks noChangeAspect="1"/>
          </p:cNvPicPr>
          <p:nvPr userDrawn="1"/>
        </p:nvPicPr>
        <p:blipFill rotWithShape="1">
          <a:blip r:embed="rId2"/>
          <a:srcRect l="20631" t="48022" r="35363" b="18739"/>
          <a:stretch/>
        </p:blipFill>
        <p:spPr>
          <a:xfrm>
            <a:off x="10619860" y="6437040"/>
            <a:ext cx="847709" cy="360000"/>
          </a:xfrm>
          <a:prstGeom prst="rect">
            <a:avLst/>
          </a:prstGeom>
        </p:spPr>
      </p:pic>
      <p:pic>
        <p:nvPicPr>
          <p:cNvPr id="28" name="Image 27">
            <a:extLst>
              <a:ext uri="{FF2B5EF4-FFF2-40B4-BE49-F238E27FC236}">
                <a16:creationId xmlns:a16="http://schemas.microsoft.com/office/drawing/2014/main" id="{50AA5A92-C498-4CF7-B645-69FBE347D3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37560" y="6437040"/>
            <a:ext cx="837236" cy="360000"/>
          </a:xfrm>
          <a:prstGeom prst="rect">
            <a:avLst/>
          </a:prstGeom>
        </p:spPr>
      </p:pic>
      <p:pic>
        <p:nvPicPr>
          <p:cNvPr id="24" name="Afbeelding 7">
            <a:extLst>
              <a:ext uri="{FF2B5EF4-FFF2-40B4-BE49-F238E27FC236}">
                <a16:creationId xmlns:a16="http://schemas.microsoft.com/office/drawing/2014/main" id="{CF6FEA5E-C712-4387-A498-DB6A5D32183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7204" y="6447342"/>
            <a:ext cx="760830" cy="349698"/>
          </a:xfrm>
          <a:prstGeom prst="rect">
            <a:avLst/>
          </a:prstGeom>
        </p:spPr>
      </p:pic>
      <p:pic>
        <p:nvPicPr>
          <p:cNvPr id="26" name="Picture 2">
            <a:extLst>
              <a:ext uri="{FF2B5EF4-FFF2-40B4-BE49-F238E27FC236}">
                <a16:creationId xmlns:a16="http://schemas.microsoft.com/office/drawing/2014/main" id="{A2377B30-8F88-4C8D-9192-BA4D82E7B62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8430" y="6366295"/>
            <a:ext cx="1170742" cy="389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749304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Leeg">
    <p:spTree>
      <p:nvGrpSpPr>
        <p:cNvPr id="1" name=""/>
        <p:cNvGrpSpPr/>
        <p:nvPr/>
      </p:nvGrpSpPr>
      <p:grpSpPr>
        <a:xfrm>
          <a:off x="0" y="0"/>
          <a:ext cx="0" cy="0"/>
          <a:chOff x="0" y="0"/>
          <a:chExt cx="0" cy="0"/>
        </a:xfrm>
      </p:grpSpPr>
      <p:sp>
        <p:nvSpPr>
          <p:cNvPr id="207" name="Dianummer"/>
          <p:cNvSpPr>
            <a:spLocks noGrp="1"/>
          </p:cNvSpPr>
          <p:nvPr>
            <p:ph type="sldNum" sz="quarter" idx="2"/>
          </p:nvPr>
        </p:nvSpPr>
        <p:spPr>
          <a:prstGeom prst="rect">
            <a:avLst/>
          </a:prstGeom>
        </p:spPr>
        <p:txBody>
          <a:bodyPr/>
          <a:lstStyle/>
          <a:p>
            <a:fld id="{D2D4539B-BA63-4FDA-A896-DC7ADFB317E4}" type="slidenum">
              <a:rPr lang="fr-FR" smtClean="0"/>
              <a:t>‹N°›</a:t>
            </a:fld>
            <a:endParaRPr lang="fr-FR"/>
          </a:p>
        </p:txBody>
      </p:sp>
      <p:pic>
        <p:nvPicPr>
          <p:cNvPr id="3" name="Afbeelding 7">
            <a:extLst>
              <a:ext uri="{FF2B5EF4-FFF2-40B4-BE49-F238E27FC236}">
                <a16:creationId xmlns:a16="http://schemas.microsoft.com/office/drawing/2014/main" id="{2A7E27D8-17F7-4EBF-93E5-CCBE164332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17204" y="6447342"/>
            <a:ext cx="760830" cy="349698"/>
          </a:xfrm>
          <a:prstGeom prst="rect">
            <a:avLst/>
          </a:prstGeom>
        </p:spPr>
      </p:pic>
      <p:pic>
        <p:nvPicPr>
          <p:cNvPr id="5" name="Afbeelding" descr="Afbeelding">
            <a:extLst>
              <a:ext uri="{FF2B5EF4-FFF2-40B4-BE49-F238E27FC236}">
                <a16:creationId xmlns:a16="http://schemas.microsoft.com/office/drawing/2014/main" id="{2B4FDAEB-8134-47E9-AC5F-E29B2BD8DFE0}"/>
              </a:ext>
            </a:extLst>
          </p:cNvPr>
          <p:cNvPicPr>
            <a:picLocks noChangeAspect="1"/>
          </p:cNvPicPr>
          <p:nvPr userDrawn="1"/>
        </p:nvPicPr>
        <p:blipFill>
          <a:blip r:embed="rId3"/>
          <a:srcRect l="5530" r="5530"/>
          <a:stretch>
            <a:fillRect/>
          </a:stretch>
        </p:blipFill>
        <p:spPr>
          <a:xfrm>
            <a:off x="6607628" y="3206430"/>
            <a:ext cx="3896716" cy="2920866"/>
          </a:xfrm>
          <a:prstGeom prst="rect">
            <a:avLst/>
          </a:prstGeom>
          <a:ln w="12700">
            <a:miter lim="400000"/>
          </a:ln>
          <a:extLst>
            <a:ext uri="{C572A759-6A51-4108-AA02-DFA0A04FC94B}">
              <ma14:wrappingTextBoxFlag xmlns="" xmlns:ma14="http://schemas.microsoft.com/office/mac/drawingml/2011/main" val="1"/>
            </a:ext>
          </a:extLst>
        </p:spPr>
      </p:pic>
      <p:pic>
        <p:nvPicPr>
          <p:cNvPr id="6" name="Afbeelding" descr="Afbeelding">
            <a:extLst>
              <a:ext uri="{FF2B5EF4-FFF2-40B4-BE49-F238E27FC236}">
                <a16:creationId xmlns:a16="http://schemas.microsoft.com/office/drawing/2014/main" id="{BC624754-631B-4338-B848-145D9E3C5EA5}"/>
              </a:ext>
            </a:extLst>
          </p:cNvPr>
          <p:cNvPicPr>
            <a:picLocks noChangeAspect="1"/>
          </p:cNvPicPr>
          <p:nvPr userDrawn="1"/>
        </p:nvPicPr>
        <p:blipFill>
          <a:blip r:embed="rId3"/>
          <a:srcRect l="5530" r="5530"/>
          <a:stretch>
            <a:fillRect/>
          </a:stretch>
        </p:blipFill>
        <p:spPr>
          <a:xfrm>
            <a:off x="8160842" y="0"/>
            <a:ext cx="3896716" cy="2920866"/>
          </a:xfrm>
          <a:prstGeom prst="rect">
            <a:avLst/>
          </a:prstGeom>
          <a:ln w="12700">
            <a:miter lim="400000"/>
          </a:ln>
          <a:extLst>
            <a:ext uri="{C572A759-6A51-4108-AA02-DFA0A04FC94B}">
              <ma14:wrappingTextBoxFlag xmlns="" xmlns:ma14="http://schemas.microsoft.com/office/mac/drawingml/2011/main" val="1"/>
            </a:ext>
          </a:extLst>
        </p:spPr>
      </p:pic>
      <p:pic>
        <p:nvPicPr>
          <p:cNvPr id="7" name="Afbeelding" descr="Afbeelding">
            <a:extLst>
              <a:ext uri="{FF2B5EF4-FFF2-40B4-BE49-F238E27FC236}">
                <a16:creationId xmlns:a16="http://schemas.microsoft.com/office/drawing/2014/main" id="{F2BCA9E6-8059-4B41-8498-F14ECDB794E2}"/>
              </a:ext>
            </a:extLst>
          </p:cNvPr>
          <p:cNvPicPr>
            <a:picLocks noChangeAspect="1"/>
          </p:cNvPicPr>
          <p:nvPr userDrawn="1"/>
        </p:nvPicPr>
        <p:blipFill>
          <a:blip r:embed="rId3"/>
          <a:srcRect l="5530" r="5530"/>
          <a:stretch>
            <a:fillRect/>
          </a:stretch>
        </p:blipFill>
        <p:spPr>
          <a:xfrm>
            <a:off x="1474108" y="3937134"/>
            <a:ext cx="3149331" cy="2360647"/>
          </a:xfrm>
          <a:prstGeom prst="rect">
            <a:avLst/>
          </a:prstGeom>
          <a:ln w="12700">
            <a:miter lim="400000"/>
          </a:ln>
          <a:extLst>
            <a:ext uri="{C572A759-6A51-4108-AA02-DFA0A04FC94B}">
              <ma14:wrappingTextBoxFlag xmlns="" xmlns:ma14="http://schemas.microsoft.com/office/mac/drawingml/2011/main" val="1"/>
            </a:ext>
          </a:extLst>
        </p:spPr>
      </p:pic>
      <p:pic>
        <p:nvPicPr>
          <p:cNvPr id="8" name="Afbeelding" descr="Afbeelding">
            <a:extLst>
              <a:ext uri="{FF2B5EF4-FFF2-40B4-BE49-F238E27FC236}">
                <a16:creationId xmlns:a16="http://schemas.microsoft.com/office/drawing/2014/main" id="{CA463054-1D7A-46F0-B4EA-A1D142F6C6B3}"/>
              </a:ext>
            </a:extLst>
          </p:cNvPr>
          <p:cNvPicPr>
            <a:picLocks noChangeAspect="1"/>
          </p:cNvPicPr>
          <p:nvPr userDrawn="1"/>
        </p:nvPicPr>
        <p:blipFill>
          <a:blip r:embed="rId3"/>
          <a:srcRect l="5530" r="5530"/>
          <a:stretch>
            <a:fillRect/>
          </a:stretch>
        </p:blipFill>
        <p:spPr>
          <a:xfrm>
            <a:off x="1659680" y="1630017"/>
            <a:ext cx="2778186" cy="2082448"/>
          </a:xfrm>
          <a:prstGeom prst="rect">
            <a:avLst/>
          </a:prstGeom>
          <a:ln w="12700">
            <a:miter lim="400000"/>
          </a:ln>
          <a:extLst>
            <a:ext uri="{C572A759-6A51-4108-AA02-DFA0A04FC94B}">
              <ma14:wrappingTextBoxFlag xmlns="" xmlns:ma14="http://schemas.microsoft.com/office/mac/drawingml/2011/main" val="1"/>
            </a:ext>
          </a:extLst>
        </p:spPr>
      </p:pic>
      <p:pic>
        <p:nvPicPr>
          <p:cNvPr id="11" name="Image 10">
            <a:extLst>
              <a:ext uri="{FF2B5EF4-FFF2-40B4-BE49-F238E27FC236}">
                <a16:creationId xmlns:a16="http://schemas.microsoft.com/office/drawing/2014/main" id="{324FAFA9-428E-4AE1-9ED4-6F11C321B2B2}"/>
              </a:ext>
            </a:extLst>
          </p:cNvPr>
          <p:cNvPicPr>
            <a:picLocks noChangeAspect="1"/>
          </p:cNvPicPr>
          <p:nvPr userDrawn="1"/>
        </p:nvPicPr>
        <p:blipFill rotWithShape="1">
          <a:blip r:embed="rId4"/>
          <a:srcRect l="20631" t="48022" r="35363" b="18739"/>
          <a:stretch/>
        </p:blipFill>
        <p:spPr>
          <a:xfrm>
            <a:off x="10619860" y="6437040"/>
            <a:ext cx="847709" cy="360000"/>
          </a:xfrm>
          <a:prstGeom prst="rect">
            <a:avLst/>
          </a:prstGeom>
        </p:spPr>
      </p:pic>
      <p:pic>
        <p:nvPicPr>
          <p:cNvPr id="12" name="Image 11">
            <a:extLst>
              <a:ext uri="{FF2B5EF4-FFF2-40B4-BE49-F238E27FC236}">
                <a16:creationId xmlns:a16="http://schemas.microsoft.com/office/drawing/2014/main" id="{A6AC4FF2-BE49-4F9A-9626-D4806EB3AD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37560" y="6437040"/>
            <a:ext cx="837236" cy="360000"/>
          </a:xfrm>
          <a:prstGeom prst="rect">
            <a:avLst/>
          </a:prstGeom>
        </p:spPr>
      </p:pic>
      <p:pic>
        <p:nvPicPr>
          <p:cNvPr id="13" name="Picture 2">
            <a:extLst>
              <a:ext uri="{FF2B5EF4-FFF2-40B4-BE49-F238E27FC236}">
                <a16:creationId xmlns:a16="http://schemas.microsoft.com/office/drawing/2014/main" id="{2898CD8A-3AAB-408B-989C-97B048B158E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08430" y="6366295"/>
            <a:ext cx="1170742" cy="389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07640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cSld name="3_Titel, opsomming en foto">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E2C9B8F2-E74B-43B0-8755-10AA933F6943}"/>
              </a:ext>
            </a:extLst>
          </p:cNvPr>
          <p:cNvGraphicFramePr>
            <a:graphicFrameLocks noChangeAspect="1"/>
          </p:cNvGraphicFramePr>
          <p:nvPr userDrawn="1">
            <p:custDataLst>
              <p:tags r:id="rId1"/>
            </p:custDataLst>
            <p:extLst>
              <p:ext uri="{D42A27DB-BD31-4B8C-83A1-F6EECF244321}">
                <p14:modId xmlns:p14="http://schemas.microsoft.com/office/powerpoint/2010/main" val="20549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t 1" hidden="1">
                        <a:extLst>
                          <a:ext uri="{FF2B5EF4-FFF2-40B4-BE49-F238E27FC236}">
                            <a16:creationId xmlns:a16="http://schemas.microsoft.com/office/drawing/2014/main" id="{E2C9B8F2-E74B-43B0-8755-10AA933F69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4">
            <a:extLst>
              <a:ext uri="{FF2B5EF4-FFF2-40B4-BE49-F238E27FC236}">
                <a16:creationId xmlns:a16="http://schemas.microsoft.com/office/drawing/2014/main" id="{88F3217F-0976-4759-B16F-F47E33A697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851" r="3851"/>
          <a:stretch/>
        </p:blipFill>
        <p:spPr bwMode="auto">
          <a:xfrm>
            <a:off x="3465929" y="-9178"/>
            <a:ext cx="3633017" cy="280123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09" name="Dianummer"/>
          <p:cNvSpPr>
            <a:spLocks noGrp="1"/>
          </p:cNvSpPr>
          <p:nvPr userDrawn="1">
            <p:ph type="sldNum" sz="quarter" idx="2"/>
          </p:nvPr>
        </p:nvSpPr>
        <p:spPr>
          <a:prstGeom prst="rect">
            <a:avLst/>
          </a:prstGeom>
        </p:spPr>
        <p:txBody>
          <a:bodyPr/>
          <a:lstStyle/>
          <a:p>
            <a:fld id="{D2D4539B-BA63-4FDA-A896-DC7ADFB317E4}" type="slidenum">
              <a:rPr lang="fr-FR" smtClean="0"/>
              <a:t>‹N°›</a:t>
            </a:fld>
            <a:endParaRPr lang="fr-FR"/>
          </a:p>
        </p:txBody>
      </p:sp>
      <p:pic>
        <p:nvPicPr>
          <p:cNvPr id="18435" name="Picture 3">
            <a:extLst>
              <a:ext uri="{FF2B5EF4-FFF2-40B4-BE49-F238E27FC236}">
                <a16:creationId xmlns:a16="http://schemas.microsoft.com/office/drawing/2014/main" id="{E2BEFA79-0ABA-4BB1-B53C-5D887780DA3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l="10761" r="10761"/>
          <a:stretch/>
        </p:blipFill>
        <p:spPr bwMode="auto">
          <a:xfrm>
            <a:off x="3465929" y="2577537"/>
            <a:ext cx="3611039" cy="2591337"/>
          </a:xfrm>
          <a:prstGeom prst="rect">
            <a:avLst/>
          </a:prstGeom>
          <a:noFill/>
          <a:extLst>
            <a:ext uri="{909E8E84-426E-40DD-AFC4-6F175D3DCCD1}">
              <a14:hiddenFill xmlns:a14="http://schemas.microsoft.com/office/drawing/2010/main">
                <a:solidFill>
                  <a:srgbClr val="FFFFFF"/>
                </a:solidFill>
              </a14:hiddenFill>
            </a:ext>
          </a:extLst>
        </p:spPr>
      </p:pic>
      <p:pic>
        <p:nvPicPr>
          <p:cNvPr id="18437" name="Picture 5">
            <a:extLst>
              <a:ext uri="{FF2B5EF4-FFF2-40B4-BE49-F238E27FC236}">
                <a16:creationId xmlns:a16="http://schemas.microsoft.com/office/drawing/2014/main" id="{99B1F1A3-0F5E-443D-80E1-114B5E595FA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l="3080" r="3080"/>
          <a:stretch/>
        </p:blipFill>
        <p:spPr bwMode="auto">
          <a:xfrm>
            <a:off x="0" y="2580552"/>
            <a:ext cx="3498543" cy="2588322"/>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a:extLst>
              <a:ext uri="{FF2B5EF4-FFF2-40B4-BE49-F238E27FC236}">
                <a16:creationId xmlns:a16="http://schemas.microsoft.com/office/drawing/2014/main" id="{623EA24D-BD9F-9C51-A36E-8108053A2351}"/>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38" b="38"/>
          <a:stretch/>
        </p:blipFill>
        <p:spPr>
          <a:xfrm>
            <a:off x="-1" y="-21053"/>
            <a:ext cx="3498543" cy="2598590"/>
          </a:xfrm>
          <a:prstGeom prst="rect">
            <a:avLst/>
          </a:prstGeom>
        </p:spPr>
      </p:pic>
      <p:sp>
        <p:nvSpPr>
          <p:cNvPr id="27" name="Forme libre : forme 26">
            <a:extLst>
              <a:ext uri="{FF2B5EF4-FFF2-40B4-BE49-F238E27FC236}">
                <a16:creationId xmlns:a16="http://schemas.microsoft.com/office/drawing/2014/main" id="{4696F5B8-F300-4CA7-B62E-3AC1FBAA9B98}"/>
              </a:ext>
            </a:extLst>
          </p:cNvPr>
          <p:cNvSpPr/>
          <p:nvPr/>
        </p:nvSpPr>
        <p:spPr>
          <a:xfrm>
            <a:off x="-2" y="-11592"/>
            <a:ext cx="7873141" cy="6350601"/>
          </a:xfrm>
          <a:custGeom>
            <a:avLst/>
            <a:gdLst>
              <a:gd name="connsiteX0" fmla="*/ 6157452 w 6858000"/>
              <a:gd name="connsiteY0" fmla="*/ 0 h 5143500"/>
              <a:gd name="connsiteX1" fmla="*/ 6858000 w 6858000"/>
              <a:gd name="connsiteY1" fmla="*/ 0 h 5143500"/>
              <a:gd name="connsiteX2" fmla="*/ 6858000 w 6858000"/>
              <a:gd name="connsiteY2" fmla="*/ 4173794 h 5143500"/>
              <a:gd name="connsiteX3" fmla="*/ 6858000 w 6858000"/>
              <a:gd name="connsiteY3" fmla="*/ 5143500 h 5143500"/>
              <a:gd name="connsiteX4" fmla="*/ 0 w 6858000"/>
              <a:gd name="connsiteY4" fmla="*/ 5143500 h 5143500"/>
              <a:gd name="connsiteX5" fmla="*/ 0 w 6858000"/>
              <a:gd name="connsiteY5" fmla="*/ 4173794 h 5143500"/>
              <a:gd name="connsiteX6" fmla="*/ 5567538 w 6858000"/>
              <a:gd name="connsiteY6" fmla="*/ 4173794 h 5143500"/>
              <a:gd name="connsiteX7" fmla="*/ 5686411 w 6858000"/>
              <a:gd name="connsiteY7" fmla="*/ 4161811 h 5143500"/>
              <a:gd name="connsiteX8" fmla="*/ 6145469 w 6858000"/>
              <a:gd name="connsiteY8" fmla="*/ 3702753 h 5143500"/>
              <a:gd name="connsiteX9" fmla="*/ 6157452 w 6858000"/>
              <a:gd name="connsiteY9" fmla="*/ 358388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0" h="5143500">
                <a:moveTo>
                  <a:pt x="6157452" y="0"/>
                </a:moveTo>
                <a:lnTo>
                  <a:pt x="6858000" y="0"/>
                </a:lnTo>
                <a:lnTo>
                  <a:pt x="6858000" y="4173794"/>
                </a:lnTo>
                <a:lnTo>
                  <a:pt x="6858000" y="5143500"/>
                </a:lnTo>
                <a:lnTo>
                  <a:pt x="0" y="5143500"/>
                </a:lnTo>
                <a:lnTo>
                  <a:pt x="0" y="4173794"/>
                </a:lnTo>
                <a:lnTo>
                  <a:pt x="5567538" y="4173794"/>
                </a:lnTo>
                <a:lnTo>
                  <a:pt x="5686411" y="4161811"/>
                </a:lnTo>
                <a:cubicBezTo>
                  <a:pt x="5916832" y="4114660"/>
                  <a:pt x="6098318" y="3933174"/>
                  <a:pt x="6145469" y="3702753"/>
                </a:cubicBezTo>
                <a:lnTo>
                  <a:pt x="6157452" y="35838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Rectangle 8">
            <a:extLst>
              <a:ext uri="{FF2B5EF4-FFF2-40B4-BE49-F238E27FC236}">
                <a16:creationId xmlns:a16="http://schemas.microsoft.com/office/drawing/2014/main" id="{90396F54-5689-4A8B-B283-0ED0D2367669}"/>
              </a:ext>
            </a:extLst>
          </p:cNvPr>
          <p:cNvSpPr/>
          <p:nvPr userDrawn="1"/>
        </p:nvSpPr>
        <p:spPr>
          <a:xfrm>
            <a:off x="231329" y="5302784"/>
            <a:ext cx="542136" cy="954107"/>
          </a:xfrm>
          <a:prstGeom prst="rect">
            <a:avLst/>
          </a:prstGeom>
        </p:spPr>
        <p:txBody>
          <a:bodyPr wrap="none">
            <a:spAutoFit/>
          </a:bodyPr>
          <a:lstStyle/>
          <a:p>
            <a:pPr algn="l" defTabSz="412750" hangingPunct="1"/>
            <a:r>
              <a:rPr lang="fr-FR" sz="5600" b="1">
                <a:solidFill>
                  <a:srgbClr val="00B6C5"/>
                </a:solidFill>
                <a:latin typeface="Calibri"/>
                <a:cs typeface="Calibri"/>
                <a:sym typeface="Calibri"/>
              </a:rPr>
              <a:t>&gt;</a:t>
            </a:r>
          </a:p>
        </p:txBody>
      </p:sp>
      <p:sp>
        <p:nvSpPr>
          <p:cNvPr id="20" name="Espace réservé du texte 6">
            <a:extLst>
              <a:ext uri="{FF2B5EF4-FFF2-40B4-BE49-F238E27FC236}">
                <a16:creationId xmlns:a16="http://schemas.microsoft.com/office/drawing/2014/main" id="{BCB121D0-4093-445A-9D59-BFD259D7DDCD}"/>
              </a:ext>
            </a:extLst>
          </p:cNvPr>
          <p:cNvSpPr>
            <a:spLocks noGrp="1"/>
          </p:cNvSpPr>
          <p:nvPr userDrawn="1">
            <p:ph type="body" sz="quarter" idx="12" hasCustomPrompt="1"/>
          </p:nvPr>
        </p:nvSpPr>
        <p:spPr>
          <a:xfrm>
            <a:off x="798774" y="5440855"/>
            <a:ext cx="5358680" cy="669549"/>
          </a:xfrm>
        </p:spPr>
        <p:txBody>
          <a:bodyPr anchor="t">
            <a:noAutofit/>
          </a:bodyPr>
          <a:lstStyle>
            <a:lvl1pPr marL="0" indent="0">
              <a:buNone/>
              <a:defRPr lang="fr-FR" sz="4000" b="0" i="0" u="none" strike="noStrike" cap="none" spc="0" baseline="0" dirty="0">
                <a:ln>
                  <a:noFill/>
                </a:ln>
                <a:solidFill>
                  <a:srgbClr val="3C3C3B"/>
                </a:solidFill>
                <a:uFillTx/>
                <a:latin typeface="Circular Std Black" panose="020B0A04020101010102" pitchFamily="34" charset="0"/>
                <a:ea typeface="Source Sans Pro Light" panose="020B0403030403020204" pitchFamily="34" charset="0"/>
                <a:cs typeface="Circular Std Black" panose="020B0A04020101010102" pitchFamily="34" charset="0"/>
                <a:sym typeface="Calibri Light"/>
              </a:defRPr>
            </a:lvl1pPr>
          </a:lstStyle>
          <a:p>
            <a:pPr marL="0" marR="0" lvl="0" indent="0" algn="l" defTabSz="412750" eaLnBrk="1" latinLnBrk="0" hangingPunct="1">
              <a:lnSpc>
                <a:spcPct val="100000"/>
              </a:lnSpc>
              <a:spcBef>
                <a:spcPts val="0"/>
              </a:spcBef>
              <a:spcAft>
                <a:spcPts val="0"/>
              </a:spcAft>
              <a:buClrTx/>
              <a:buSzTx/>
              <a:buFontTx/>
              <a:buNone/>
              <a:tabLst/>
            </a:pPr>
            <a:r>
              <a:rPr lang="fr-FR"/>
              <a:t>Titre de présentation</a:t>
            </a:r>
          </a:p>
        </p:txBody>
      </p:sp>
    </p:spTree>
    <p:extLst>
      <p:ext uri="{BB962C8B-B14F-4D97-AF65-F5344CB8AC3E}">
        <p14:creationId xmlns:p14="http://schemas.microsoft.com/office/powerpoint/2010/main" val="17273304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List">
    <p:spTree>
      <p:nvGrpSpPr>
        <p:cNvPr id="1" name=""/>
        <p:cNvGrpSpPr/>
        <p:nvPr/>
      </p:nvGrpSpPr>
      <p:grpSpPr>
        <a:xfrm>
          <a:off x="0" y="0"/>
          <a:ext cx="0" cy="0"/>
          <a:chOff x="0" y="0"/>
          <a:chExt cx="0" cy="0"/>
        </a:xfrm>
      </p:grpSpPr>
      <p:sp>
        <p:nvSpPr>
          <p:cNvPr id="147" name="Dianummer"/>
          <p:cNvSpPr>
            <a:spLocks noGrp="1"/>
          </p:cNvSpPr>
          <p:nvPr>
            <p:ph type="sldNum" sz="quarter" idx="2"/>
          </p:nvPr>
        </p:nvSpPr>
        <p:spPr>
          <a:xfrm>
            <a:off x="4724400" y="6396828"/>
            <a:ext cx="2743200" cy="365125"/>
          </a:xfrm>
          <a:prstGeom prst="rect">
            <a:avLst/>
          </a:prstGeom>
        </p:spPr>
        <p:txBody>
          <a:bodyPr/>
          <a:lstStyle>
            <a:lvl1pPr algn="ctr">
              <a:defRPr/>
            </a:lvl1pPr>
          </a:lstStyle>
          <a:p>
            <a:fld id="{D2D4539B-BA63-4FDA-A896-DC7ADFB317E4}" type="slidenum">
              <a:rPr lang="fr-FR" smtClean="0"/>
              <a:pPr/>
              <a:t>‹N°›</a:t>
            </a:fld>
            <a:endParaRPr lang="fr-FR"/>
          </a:p>
        </p:txBody>
      </p:sp>
      <p:sp>
        <p:nvSpPr>
          <p:cNvPr id="50" name="Titeltekst">
            <a:extLst>
              <a:ext uri="{FF2B5EF4-FFF2-40B4-BE49-F238E27FC236}">
                <a16:creationId xmlns:a16="http://schemas.microsoft.com/office/drawing/2014/main" id="{EBF1A666-6D62-4510-A06D-9998E28F1359}"/>
              </a:ext>
            </a:extLst>
          </p:cNvPr>
          <p:cNvSpPr>
            <a:spLocks noGrp="1"/>
          </p:cNvSpPr>
          <p:nvPr>
            <p:ph type="title" hasCustomPrompt="1"/>
          </p:nvPr>
        </p:nvSpPr>
        <p:spPr>
          <a:xfrm>
            <a:off x="850488" y="111054"/>
            <a:ext cx="10970037" cy="912185"/>
          </a:xfrm>
          <a:prstGeom prst="rect">
            <a:avLst/>
          </a:prstGeom>
        </p:spPr>
        <p:txBody>
          <a:bodyPr>
            <a:noAutofit/>
          </a:bodyPr>
          <a:lstStyle>
            <a:lvl1pPr>
              <a:defRPr sz="3600" b="1" i="0" u="none" strike="noStrike" cap="none" spc="0" baseline="0" dirty="0">
                <a:ln>
                  <a:noFill/>
                </a:ln>
                <a:solidFill>
                  <a:srgbClr val="3C3C3B"/>
                </a:solidFill>
                <a:uFillTx/>
                <a:latin typeface="Circular Std Black" panose="020B0A04020101010102" pitchFamily="34" charset="0"/>
                <a:ea typeface="Circular Std Black" panose="020B0A04020101010102" pitchFamily="34" charset="0"/>
                <a:cs typeface="Circular Std Black" panose="020B0A04020101010102" pitchFamily="34" charset="0"/>
                <a:sym typeface="Calibri Light"/>
              </a:defRPr>
            </a:lvl1pPr>
          </a:lstStyle>
          <a:p>
            <a:r>
              <a:rPr lang="fr-FR"/>
              <a:t>Modifiez le titre</a:t>
            </a:r>
            <a:endParaRPr/>
          </a:p>
        </p:txBody>
      </p:sp>
      <p:sp>
        <p:nvSpPr>
          <p:cNvPr id="51" name="&gt;">
            <a:extLst>
              <a:ext uri="{FF2B5EF4-FFF2-40B4-BE49-F238E27FC236}">
                <a16:creationId xmlns:a16="http://schemas.microsoft.com/office/drawing/2014/main" id="{F2E362FB-FDA8-4D5E-B426-7A370A2060FA}"/>
              </a:ext>
            </a:extLst>
          </p:cNvPr>
          <p:cNvSpPr/>
          <p:nvPr userDrawn="1"/>
        </p:nvSpPr>
        <p:spPr>
          <a:xfrm>
            <a:off x="325474" y="111054"/>
            <a:ext cx="386907" cy="91218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normAutofit/>
          </a:bodyPr>
          <a:lstStyle>
            <a:lvl1pPr algn="l">
              <a:defRPr sz="11200" b="1">
                <a:solidFill>
                  <a:srgbClr val="00B6C5"/>
                </a:solidFill>
                <a:latin typeface="+mj-lt"/>
                <a:ea typeface="+mj-ea"/>
                <a:cs typeface="+mj-cs"/>
                <a:sym typeface="Calibri"/>
              </a:defRPr>
            </a:lvl1pPr>
          </a:lstStyle>
          <a:p>
            <a:r>
              <a:rPr sz="5600">
                <a:solidFill>
                  <a:srgbClr val="0BB2C4"/>
                </a:solidFill>
              </a:rPr>
              <a:t>&gt;</a:t>
            </a:r>
          </a:p>
        </p:txBody>
      </p:sp>
      <p:pic>
        <p:nvPicPr>
          <p:cNvPr id="3" name="Image 2" descr="Une image contenant texte&#10;&#10;Description générée automatiquement">
            <a:extLst>
              <a:ext uri="{FF2B5EF4-FFF2-40B4-BE49-F238E27FC236}">
                <a16:creationId xmlns:a16="http://schemas.microsoft.com/office/drawing/2014/main" id="{E7B36E48-DF85-18B7-EAB9-315E7BB7FD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34" t="20539" b="37663"/>
          <a:stretch/>
        </p:blipFill>
        <p:spPr>
          <a:xfrm>
            <a:off x="11012017" y="6332622"/>
            <a:ext cx="737388" cy="432000"/>
          </a:xfrm>
          <a:prstGeom prst="rect">
            <a:avLst/>
          </a:prstGeom>
        </p:spPr>
      </p:pic>
      <p:pic>
        <p:nvPicPr>
          <p:cNvPr id="2050" name="Picture 2" descr="L'instrument financier pour l'environnement — Wikipédia">
            <a:extLst>
              <a:ext uri="{FF2B5EF4-FFF2-40B4-BE49-F238E27FC236}">
                <a16:creationId xmlns:a16="http://schemas.microsoft.com/office/drawing/2014/main" id="{72AF0D03-1791-DEEC-308D-1AAB243E40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77672" y="6314622"/>
            <a:ext cx="647379" cy="46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228018"/>
      </p:ext>
    </p:extLst>
  </p:cSld>
  <p:clrMapOvr>
    <a:masterClrMapping/>
  </p:clrMapOvr>
  <p:transition spd="med"/>
  <p:hf hdr="0" ftr="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234AF5-4EF4-4729-831D-193A5CF0D7E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59B2EBA-384E-4B12-9060-7A26D1F1DB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86B06315-0928-42CB-99C5-5A4D49289B0A}"/>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DE5C2169-612B-4C1C-962D-2C18D227C20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FB501E0-0698-4BFC-B7AD-FDD9C1BD9BC6}"/>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407386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69440FB-9DB5-4BBD-8287-4BE7070846D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618D114-1B47-46AA-BECC-1223100D721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47B8369-CA28-4832-86C2-84DBD6ACC9C8}"/>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548250FD-4E96-4E4F-894C-1ECC029D8D1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DE41153-1922-43E0-A368-DDB7D40C625E}"/>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198076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5AA733-9957-4596-94AF-C5C16ACE2A80}"/>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25B39EE1-7055-496F-A614-CA99C914430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0F467D6D-866B-4B9A-8F97-0267CA628FED}"/>
              </a:ext>
            </a:extLst>
          </p:cNvPr>
          <p:cNvSpPr>
            <a:spLocks noGrp="1"/>
          </p:cNvSpPr>
          <p:nvPr>
            <p:ph type="dt" sz="half" idx="10"/>
          </p:nvPr>
        </p:nvSpPr>
        <p:spPr/>
        <p:txBody>
          <a:body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335E4BBC-9DEC-42AC-B818-D3D2CB1FB46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9086C58-223E-4AAA-ABA6-9BFE0CFA1945}"/>
              </a:ext>
            </a:extLst>
          </p:cNvPr>
          <p:cNvSpPr>
            <a:spLocks noGrp="1"/>
          </p:cNvSpPr>
          <p:nvPr>
            <p:ph type="sldNum" sz="quarter" idx="12"/>
          </p:nvPr>
        </p:nvSpPr>
        <p:spPr/>
        <p:txBody>
          <a:bodyPr/>
          <a:lstStyle/>
          <a:p>
            <a:fld id="{9EBD1185-40D0-4466-A764-8816F244CAB2}" type="slidenum">
              <a:rPr lang="fr-FR" smtClean="0"/>
              <a:t>‹N°›</a:t>
            </a:fld>
            <a:endParaRPr lang="fr-FR"/>
          </a:p>
        </p:txBody>
      </p:sp>
    </p:spTree>
    <p:extLst>
      <p:ext uri="{BB962C8B-B14F-4D97-AF65-F5344CB8AC3E}">
        <p14:creationId xmlns:p14="http://schemas.microsoft.com/office/powerpoint/2010/main" val="10283704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oleObject" Target="../embeddings/oleObject3.bin"/><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ags" Target="../tags/tag4.xml"/><Relationship Id="rId2" Type="http://schemas.openxmlformats.org/officeDocument/2006/relationships/slideLayout" Target="../slideLayouts/slideLayout8.xml"/><Relationship Id="rId16"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image" Target="../media/image15.emf"/><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369408F-D8AC-4883-8DA8-F3BABF20C7E7}"/>
              </a:ext>
            </a:extLst>
          </p:cNvPr>
          <p:cNvGraphicFramePr>
            <a:graphicFrameLocks noChangeAspect="1"/>
          </p:cNvGraphicFramePr>
          <p:nvPr userDrawn="1">
            <p:custDataLst>
              <p:tags r:id="rId8"/>
            </p:custDataLst>
            <p:extLst>
              <p:ext uri="{D42A27DB-BD31-4B8C-83A1-F6EECF244321}">
                <p14:modId xmlns:p14="http://schemas.microsoft.com/office/powerpoint/2010/main" val="1110187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0" imgH="469" progId="TCLayout.ActiveDocument.1">
                  <p:embed/>
                </p:oleObj>
              </mc:Choice>
              <mc:Fallback>
                <p:oleObj name="think-cell Slide" r:id="rId9" imgW="470" imgH="469" progId="TCLayout.ActiveDocument.1">
                  <p:embed/>
                  <p:pic>
                    <p:nvPicPr>
                      <p:cNvPr id="6" name="Objet 5" hidden="1">
                        <a:extLst>
                          <a:ext uri="{FF2B5EF4-FFF2-40B4-BE49-F238E27FC236}">
                            <a16:creationId xmlns:a16="http://schemas.microsoft.com/office/drawing/2014/main" id="{2369408F-D8AC-4883-8DA8-F3BABF20C7E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tekst"/>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vert="horz" lIns="50800" tIns="50800" rIns="50800" bIns="50800" anchor="ctr">
            <a:normAutofit/>
          </a:bodyPr>
          <a:lstStyle/>
          <a:p>
            <a:r>
              <a:t>Titeltekst</a:t>
            </a:r>
          </a:p>
        </p:txBody>
      </p:sp>
      <p:sp>
        <p:nvSpPr>
          <p:cNvPr id="3" name="Hoofdtekst - niveau één…"/>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lvl2pPr marL="635000"/>
            <a:lvl3pPr marL="635000"/>
            <a:lvl4pPr marL="635000"/>
            <a:lvl5pPr marL="635000"/>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4" name="Dianummer"/>
          <p:cNvSpPr>
            <a:spLocks noGrp="1"/>
          </p:cNvSpPr>
          <p:nvPr>
            <p:ph type="sldNum" sz="quarter" idx="2"/>
          </p:nvPr>
        </p:nvSpPr>
        <p:spPr>
          <a:xfrm>
            <a:off x="5979516" y="6540500"/>
            <a:ext cx="371897" cy="287258"/>
          </a:xfrm>
          <a:prstGeom prst="rect">
            <a:avLst/>
          </a:prstGeom>
          <a:ln w="12700">
            <a:miter lim="400000"/>
          </a:ln>
        </p:spPr>
        <p:txBody>
          <a:bodyPr wrap="none" lIns="50800" tIns="50800" rIns="50800" bIns="50800">
            <a:spAutoFit/>
          </a:bodyPr>
          <a:lstStyle>
            <a:lvl1pPr>
              <a:defRPr sz="1200"/>
            </a:lvl1pPr>
          </a:lstStyle>
          <a:p>
            <a:fld id="{44DD6EA5-F082-416C-943A-7E21C383C108}" type="slidenum">
              <a:rPr lang="fr-FR" smtClean="0"/>
              <a:t>‹N°›</a:t>
            </a:fld>
            <a:endParaRPr lang="fr-FR"/>
          </a:p>
        </p:txBody>
      </p:sp>
    </p:spTree>
    <p:extLst>
      <p:ext uri="{BB962C8B-B14F-4D97-AF65-F5344CB8AC3E}">
        <p14:creationId xmlns:p14="http://schemas.microsoft.com/office/powerpoint/2010/main" val="11976332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03" r:id="rId6"/>
  </p:sldLayoutIdLst>
  <p:transition spd="med"/>
  <p:hf hdr="0" ftr="0" dt="0"/>
  <p:txStyles>
    <p:titleStyle>
      <a:lvl1pPr marL="0" marR="0" indent="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1pPr>
      <a:lvl2pPr marL="0" marR="0" indent="1143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2pPr>
      <a:lvl3pPr marL="0" marR="0" indent="2286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3pPr>
      <a:lvl4pPr marL="0" marR="0" indent="3429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4pPr>
      <a:lvl5pPr marL="0" marR="0" indent="4572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5pPr>
      <a:lvl6pPr marL="0" marR="0" indent="5715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6pPr>
      <a:lvl7pPr marL="0" marR="0" indent="6858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7pPr>
      <a:lvl8pPr marL="0" marR="0" indent="8001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8pPr>
      <a:lvl9pPr marL="0" marR="0" indent="914400" algn="l" defTabSz="412750" eaLnBrk="1" latinLnBrk="0" hangingPunct="1">
        <a:lnSpc>
          <a:spcPct val="100000"/>
        </a:lnSpc>
        <a:spcBef>
          <a:spcPts val="0"/>
        </a:spcBef>
        <a:spcAft>
          <a:spcPts val="0"/>
        </a:spcAft>
        <a:buClrTx/>
        <a:buSzTx/>
        <a:buFontTx/>
        <a:buNone/>
        <a:tabLst/>
        <a:defRPr sz="5600" b="1" i="0" u="none" strike="noStrike" cap="none" spc="0" baseline="0">
          <a:ln>
            <a:noFill/>
          </a:ln>
          <a:solidFill>
            <a:srgbClr val="313234"/>
          </a:solidFill>
          <a:uFillTx/>
          <a:latin typeface="+mj-lt"/>
          <a:ea typeface="+mj-ea"/>
          <a:cs typeface="+mj-cs"/>
          <a:sym typeface="Calibri"/>
        </a:defRPr>
      </a:lvl9pPr>
    </p:titleStyle>
    <p:bodyStyle>
      <a:lvl1pPr marL="317500" marR="0" indent="-317500" algn="l" defTabSz="412750" eaLnBrk="1" latinLnBrk="0" hangingPunct="1">
        <a:lnSpc>
          <a:spcPct val="100000"/>
        </a:lnSpc>
        <a:spcBef>
          <a:spcPts val="2950"/>
        </a:spcBef>
        <a:spcAft>
          <a:spcPts val="0"/>
        </a:spcAft>
        <a:buClr>
          <a:srgbClr val="00B6C5"/>
        </a:buClr>
        <a:buSzPct val="75000"/>
        <a:buFontTx/>
        <a:buChar char="&gt;"/>
        <a:tabLst/>
        <a:defRPr sz="2600" b="0" i="0" u="none" strike="noStrike" cap="none" spc="0" baseline="0">
          <a:ln>
            <a:noFill/>
          </a:ln>
          <a:solidFill>
            <a:srgbClr val="313234"/>
          </a:solidFill>
          <a:uFillTx/>
          <a:latin typeface="+mj-lt"/>
          <a:ea typeface="+mj-ea"/>
          <a:cs typeface="+mj-cs"/>
          <a:sym typeface="Calibri"/>
        </a:defRPr>
      </a:lvl1pPr>
      <a:lvl2pPr marL="635000" marR="0" indent="-317500" algn="l" defTabSz="412750" eaLnBrk="1" latinLnBrk="0" hangingPunct="1">
        <a:lnSpc>
          <a:spcPct val="100000"/>
        </a:lnSpc>
        <a:spcBef>
          <a:spcPts val="2950"/>
        </a:spcBef>
        <a:spcAft>
          <a:spcPts val="0"/>
        </a:spcAft>
        <a:buClr>
          <a:srgbClr val="00B6C5"/>
        </a:buClr>
        <a:buSzPct val="75000"/>
        <a:buFontTx/>
        <a:buChar char="&gt;"/>
        <a:tabLst/>
        <a:defRPr sz="2600" b="0" i="0" u="none" strike="noStrike" cap="none" spc="0" baseline="0">
          <a:ln>
            <a:noFill/>
          </a:ln>
          <a:solidFill>
            <a:srgbClr val="313234"/>
          </a:solidFill>
          <a:uFillTx/>
          <a:latin typeface="+mj-lt"/>
          <a:ea typeface="+mj-ea"/>
          <a:cs typeface="+mj-cs"/>
          <a:sym typeface="Calibri"/>
        </a:defRPr>
      </a:lvl2pPr>
      <a:lvl3pPr marL="952500" marR="0" indent="-317500" algn="l" defTabSz="412750" eaLnBrk="1" latinLnBrk="0" hangingPunct="1">
        <a:lnSpc>
          <a:spcPct val="100000"/>
        </a:lnSpc>
        <a:spcBef>
          <a:spcPts val="2950"/>
        </a:spcBef>
        <a:spcAft>
          <a:spcPts val="0"/>
        </a:spcAft>
        <a:buClr>
          <a:srgbClr val="00B6C5"/>
        </a:buClr>
        <a:buSzPct val="75000"/>
        <a:buFontTx/>
        <a:buChar char="&gt;"/>
        <a:tabLst/>
        <a:defRPr sz="2600" b="0" i="0" u="none" strike="noStrike" cap="none" spc="0" baseline="0">
          <a:ln>
            <a:noFill/>
          </a:ln>
          <a:solidFill>
            <a:srgbClr val="313234"/>
          </a:solidFill>
          <a:uFillTx/>
          <a:latin typeface="+mj-lt"/>
          <a:ea typeface="+mj-ea"/>
          <a:cs typeface="+mj-cs"/>
          <a:sym typeface="Calibri"/>
        </a:defRPr>
      </a:lvl3pPr>
      <a:lvl4pPr marL="1270000" marR="0" indent="-317500" algn="l" defTabSz="412750" eaLnBrk="1" latinLnBrk="0" hangingPunct="1">
        <a:lnSpc>
          <a:spcPct val="100000"/>
        </a:lnSpc>
        <a:spcBef>
          <a:spcPts val="2950"/>
        </a:spcBef>
        <a:spcAft>
          <a:spcPts val="0"/>
        </a:spcAft>
        <a:buClr>
          <a:srgbClr val="00B6C5"/>
        </a:buClr>
        <a:buSzPct val="75000"/>
        <a:buFontTx/>
        <a:buChar char="&gt;"/>
        <a:tabLst/>
        <a:defRPr sz="2600" b="0" i="0" u="none" strike="noStrike" cap="none" spc="0" baseline="0">
          <a:ln>
            <a:noFill/>
          </a:ln>
          <a:solidFill>
            <a:srgbClr val="313234"/>
          </a:solidFill>
          <a:uFillTx/>
          <a:latin typeface="+mj-lt"/>
          <a:ea typeface="+mj-ea"/>
          <a:cs typeface="+mj-cs"/>
          <a:sym typeface="Calibri"/>
        </a:defRPr>
      </a:lvl4pPr>
      <a:lvl5pPr marL="1587500" marR="0" indent="-317500" algn="l" defTabSz="412750" eaLnBrk="1" latinLnBrk="0" hangingPunct="1">
        <a:lnSpc>
          <a:spcPct val="100000"/>
        </a:lnSpc>
        <a:spcBef>
          <a:spcPts val="2950"/>
        </a:spcBef>
        <a:spcAft>
          <a:spcPts val="0"/>
        </a:spcAft>
        <a:buClr>
          <a:srgbClr val="00B6C5"/>
        </a:buClr>
        <a:buSzPct val="75000"/>
        <a:buFontTx/>
        <a:buChar char="&gt;"/>
        <a:tabLst/>
        <a:defRPr sz="2600" b="0" i="0" u="none" strike="noStrike" cap="none" spc="0" baseline="0">
          <a:ln>
            <a:noFill/>
          </a:ln>
          <a:solidFill>
            <a:srgbClr val="313234"/>
          </a:solidFill>
          <a:uFillTx/>
          <a:latin typeface="+mj-lt"/>
          <a:ea typeface="+mj-ea"/>
          <a:cs typeface="+mj-cs"/>
          <a:sym typeface="Calibri"/>
        </a:defRPr>
      </a:lvl5pPr>
      <a:lvl6pPr marL="1905000" marR="0" indent="-317500" algn="l" defTabSz="412750" eaLnBrk="1" latinLnBrk="0" hangingPunct="1">
        <a:lnSpc>
          <a:spcPct val="100000"/>
        </a:lnSpc>
        <a:spcBef>
          <a:spcPts val="2950"/>
        </a:spcBef>
        <a:spcAft>
          <a:spcPts val="0"/>
        </a:spcAft>
        <a:buClr>
          <a:srgbClr val="00B6C5"/>
        </a:buClr>
        <a:buSzPct val="75000"/>
        <a:buFontTx/>
        <a:buChar char="•"/>
        <a:tabLst/>
        <a:defRPr sz="2600" b="0" i="0" u="none" strike="noStrike" cap="none" spc="0" baseline="0">
          <a:ln>
            <a:noFill/>
          </a:ln>
          <a:solidFill>
            <a:srgbClr val="313234"/>
          </a:solidFill>
          <a:uFillTx/>
          <a:latin typeface="+mj-lt"/>
          <a:ea typeface="+mj-ea"/>
          <a:cs typeface="+mj-cs"/>
          <a:sym typeface="Calibri"/>
        </a:defRPr>
      </a:lvl6pPr>
      <a:lvl7pPr marL="2222500" marR="0" indent="-317500" algn="l" defTabSz="412750" eaLnBrk="1" latinLnBrk="0" hangingPunct="1">
        <a:lnSpc>
          <a:spcPct val="100000"/>
        </a:lnSpc>
        <a:spcBef>
          <a:spcPts val="2950"/>
        </a:spcBef>
        <a:spcAft>
          <a:spcPts val="0"/>
        </a:spcAft>
        <a:buClr>
          <a:srgbClr val="00B6C5"/>
        </a:buClr>
        <a:buSzPct val="75000"/>
        <a:buFontTx/>
        <a:buChar char="•"/>
        <a:tabLst/>
        <a:defRPr sz="2600" b="0" i="0" u="none" strike="noStrike" cap="none" spc="0" baseline="0">
          <a:ln>
            <a:noFill/>
          </a:ln>
          <a:solidFill>
            <a:srgbClr val="313234"/>
          </a:solidFill>
          <a:uFillTx/>
          <a:latin typeface="+mj-lt"/>
          <a:ea typeface="+mj-ea"/>
          <a:cs typeface="+mj-cs"/>
          <a:sym typeface="Calibri"/>
        </a:defRPr>
      </a:lvl7pPr>
      <a:lvl8pPr marL="2540000" marR="0" indent="-317500" algn="l" defTabSz="412750" eaLnBrk="1" latinLnBrk="0" hangingPunct="1">
        <a:lnSpc>
          <a:spcPct val="100000"/>
        </a:lnSpc>
        <a:spcBef>
          <a:spcPts val="2950"/>
        </a:spcBef>
        <a:spcAft>
          <a:spcPts val="0"/>
        </a:spcAft>
        <a:buClr>
          <a:srgbClr val="00B6C5"/>
        </a:buClr>
        <a:buSzPct val="75000"/>
        <a:buFontTx/>
        <a:buChar char="•"/>
        <a:tabLst/>
        <a:defRPr sz="2600" b="0" i="0" u="none" strike="noStrike" cap="none" spc="0" baseline="0">
          <a:ln>
            <a:noFill/>
          </a:ln>
          <a:solidFill>
            <a:srgbClr val="313234"/>
          </a:solidFill>
          <a:uFillTx/>
          <a:latin typeface="+mj-lt"/>
          <a:ea typeface="+mj-ea"/>
          <a:cs typeface="+mj-cs"/>
          <a:sym typeface="Calibri"/>
        </a:defRPr>
      </a:lvl8pPr>
      <a:lvl9pPr marL="2857500" marR="0" indent="-317500" algn="l" defTabSz="412750" eaLnBrk="1" latinLnBrk="0" hangingPunct="1">
        <a:lnSpc>
          <a:spcPct val="100000"/>
        </a:lnSpc>
        <a:spcBef>
          <a:spcPts val="2950"/>
        </a:spcBef>
        <a:spcAft>
          <a:spcPts val="0"/>
        </a:spcAft>
        <a:buClr>
          <a:srgbClr val="00B6C5"/>
        </a:buClr>
        <a:buSzPct val="75000"/>
        <a:buFontTx/>
        <a:buChar char="•"/>
        <a:tabLst/>
        <a:defRPr sz="2600" b="0" i="0" u="none" strike="noStrike" cap="none" spc="0" baseline="0">
          <a:ln>
            <a:noFill/>
          </a:ln>
          <a:solidFill>
            <a:srgbClr val="313234"/>
          </a:solidFill>
          <a:uFillTx/>
          <a:latin typeface="+mj-lt"/>
          <a:ea typeface="+mj-ea"/>
          <a:cs typeface="+mj-cs"/>
          <a:sym typeface="Calibri"/>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3840">
          <p15:clr>
            <a:srgbClr val="F26B43"/>
          </p15:clr>
        </p15:guide>
        <p15:guide id="2" pos="4067">
          <p15:clr>
            <a:srgbClr val="F26B43"/>
          </p15:clr>
        </p15:guide>
        <p15:guide id="3" pos="3613">
          <p15:clr>
            <a:srgbClr val="F26B43"/>
          </p15:clr>
        </p15:guide>
        <p15:guide id="4" orient="horz" pos="1230">
          <p15:clr>
            <a:srgbClr val="F26B43"/>
          </p15:clr>
        </p15:guide>
        <p15:guide id="5" orient="horz" pos="3974">
          <p15:clr>
            <a:srgbClr val="F26B43"/>
          </p15:clr>
        </p15:guide>
        <p15:guide id="6" pos="234">
          <p15:clr>
            <a:srgbClr val="F26B43"/>
          </p15:clr>
        </p15:guide>
        <p15:guide id="7" pos="74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870D2AD-71CB-4F3F-B776-9BF2F1002E18}"/>
              </a:ext>
            </a:extLst>
          </p:cNvPr>
          <p:cNvGraphicFramePr>
            <a:graphicFrameLocks noChangeAspect="1"/>
          </p:cNvGraphicFramePr>
          <p:nvPr userDrawn="1">
            <p:custDataLst>
              <p:tags r:id="rId17"/>
            </p:custDataLst>
            <p:extLst>
              <p:ext uri="{D42A27DB-BD31-4B8C-83A1-F6EECF244321}">
                <p14:modId xmlns:p14="http://schemas.microsoft.com/office/powerpoint/2010/main" val="390605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8" name="Objet 7" hidden="1">
                        <a:extLst>
                          <a:ext uri="{FF2B5EF4-FFF2-40B4-BE49-F238E27FC236}">
                            <a16:creationId xmlns:a16="http://schemas.microsoft.com/office/drawing/2014/main" id="{E870D2AD-71CB-4F3F-B776-9BF2F1002E1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AC841599-A9E0-489B-8A74-303CC086C3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DFCDAF1A-9CA2-43D2-8B26-BA0444A8AE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5407E55-4711-4A36-85E8-F27CFD43103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BD7C2B-D347-43D8-BB4E-D7873C90D3E6}" type="datetimeFigureOut">
              <a:rPr lang="fr-FR" smtClean="0"/>
              <a:t>30/06/2025</a:t>
            </a:fld>
            <a:endParaRPr lang="fr-FR"/>
          </a:p>
        </p:txBody>
      </p:sp>
      <p:sp>
        <p:nvSpPr>
          <p:cNvPr id="5" name="Espace réservé du pied de page 4">
            <a:extLst>
              <a:ext uri="{FF2B5EF4-FFF2-40B4-BE49-F238E27FC236}">
                <a16:creationId xmlns:a16="http://schemas.microsoft.com/office/drawing/2014/main" id="{97DB5CD9-B6DD-4DAC-9305-1515ED6E90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C20AD730-2DE1-41E6-99FA-E2B7BDD8A4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BD1185-40D0-4466-A764-8816F244CAB2}" type="slidenum">
              <a:rPr lang="fr-FR" smtClean="0"/>
              <a:t>‹N°›</a:t>
            </a:fld>
            <a:endParaRPr lang="fr-FR"/>
          </a:p>
        </p:txBody>
      </p:sp>
    </p:spTree>
    <p:extLst>
      <p:ext uri="{BB962C8B-B14F-4D97-AF65-F5344CB8AC3E}">
        <p14:creationId xmlns:p14="http://schemas.microsoft.com/office/powerpoint/2010/main" val="409689877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70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3" Type="http://schemas.openxmlformats.org/officeDocument/2006/relationships/notesSlide" Target="../notesSlides/notesSlide1.xml"/><Relationship Id="rId7" Type="http://schemas.openxmlformats.org/officeDocument/2006/relationships/image" Target="../media/image7.jpeg"/><Relationship Id="rId12"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27.png"/><Relationship Id="rId11" Type="http://schemas.openxmlformats.org/officeDocument/2006/relationships/image" Target="../media/image30.png"/><Relationship Id="rId5" Type="http://schemas.openxmlformats.org/officeDocument/2006/relationships/image" Target="../media/image26.emf"/><Relationship Id="rId15" Type="http://schemas.openxmlformats.org/officeDocument/2006/relationships/image" Target="../media/image34.jpeg"/><Relationship Id="rId10" Type="http://schemas.openxmlformats.org/officeDocument/2006/relationships/image" Target="../media/image13.png"/><Relationship Id="rId4" Type="http://schemas.openxmlformats.org/officeDocument/2006/relationships/oleObject" Target="../embeddings/oleObject4.bin"/><Relationship Id="rId9" Type="http://schemas.openxmlformats.org/officeDocument/2006/relationships/image" Target="../media/image29.svg"/><Relationship Id="rId1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0.xml"/><Relationship Id="rId1" Type="http://schemas.openxmlformats.org/officeDocument/2006/relationships/tags" Target="../tags/tag6.xml"/><Relationship Id="rId5" Type="http://schemas.openxmlformats.org/officeDocument/2006/relationships/hyperlink" Target="https://en.wikipedia.org/wiki/Construction" TargetMode="External"/><Relationship Id="rId4" Type="http://schemas.openxmlformats.org/officeDocument/2006/relationships/image" Target="../media/image26.emf"/></Relationships>
</file>

<file path=ppt/slides/_rels/slide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0.xml"/><Relationship Id="rId1" Type="http://schemas.openxmlformats.org/officeDocument/2006/relationships/tags" Target="../tags/tag7.xml"/><Relationship Id="rId6" Type="http://schemas.openxmlformats.org/officeDocument/2006/relationships/image" Target="../media/image31.png"/><Relationship Id="rId5" Type="http://schemas.openxmlformats.org/officeDocument/2006/relationships/image" Target="../media/image32.png"/><Relationship Id="rId4" Type="http://schemas.openxmlformats.org/officeDocument/2006/relationships/image" Target="../media/image26.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0.xml"/><Relationship Id="rId1" Type="http://schemas.openxmlformats.org/officeDocument/2006/relationships/tags" Target="../tags/tag8.xml"/><Relationship Id="rId5" Type="http://schemas.openxmlformats.org/officeDocument/2006/relationships/image" Target="../media/image30.png"/><Relationship Id="rId4" Type="http://schemas.openxmlformats.org/officeDocument/2006/relationships/image" Target="../media/image26.emf"/></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34.jpeg"/><Relationship Id="rId5" Type="http://schemas.openxmlformats.org/officeDocument/2006/relationships/image" Target="../media/image30.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0.xml"/><Relationship Id="rId1" Type="http://schemas.openxmlformats.org/officeDocument/2006/relationships/tags" Target="../tags/tag9.xml"/><Relationship Id="rId5" Type="http://schemas.openxmlformats.org/officeDocument/2006/relationships/image" Target="../media/image35.png"/><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a:extLst>
              <a:ext uri="{FF2B5EF4-FFF2-40B4-BE49-F238E27FC236}">
                <a16:creationId xmlns:a16="http://schemas.microsoft.com/office/drawing/2014/main" id="{4B81DDBE-5AF1-8798-C3B9-00E7EAD10D13}"/>
              </a:ext>
            </a:extLst>
          </p:cNvPr>
          <p:cNvGraphicFramePr>
            <a:graphicFrameLocks noChangeAspect="1"/>
          </p:cNvGraphicFramePr>
          <p:nvPr>
            <p:custDataLst>
              <p:tags r:id="rId1"/>
            </p:custDataLst>
            <p:extLst>
              <p:ext uri="{D42A27DB-BD31-4B8C-83A1-F6EECF244321}">
                <p14:modId xmlns:p14="http://schemas.microsoft.com/office/powerpoint/2010/main" val="77756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19" name="Objet 18" hidden="1">
                        <a:extLst>
                          <a:ext uri="{FF2B5EF4-FFF2-40B4-BE49-F238E27FC236}">
                            <a16:creationId xmlns:a16="http://schemas.microsoft.com/office/drawing/2014/main" id="{4B81DDBE-5AF1-8798-C3B9-00E7EAD10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2" descr="Présentation de la démarche EnergieSprong | Novabuild">
            <a:extLst>
              <a:ext uri="{FF2B5EF4-FFF2-40B4-BE49-F238E27FC236}">
                <a16:creationId xmlns:a16="http://schemas.microsoft.com/office/drawing/2014/main" id="{EBE77789-292F-633C-9D96-AA241405B2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98863" y="245630"/>
            <a:ext cx="2618180" cy="1080000"/>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exte 1">
            <a:extLst>
              <a:ext uri="{FF2B5EF4-FFF2-40B4-BE49-F238E27FC236}">
                <a16:creationId xmlns:a16="http://schemas.microsoft.com/office/drawing/2014/main" id="{90CC87F5-C62B-4AEF-88E9-7102333CFAE3}"/>
              </a:ext>
            </a:extLst>
          </p:cNvPr>
          <p:cNvSpPr>
            <a:spLocks noGrp="1"/>
          </p:cNvSpPr>
          <p:nvPr>
            <p:ph type="body" sz="quarter" idx="12"/>
          </p:nvPr>
        </p:nvSpPr>
        <p:spPr>
          <a:xfrm>
            <a:off x="788080" y="5453085"/>
            <a:ext cx="7064329" cy="669549"/>
          </a:xfrm>
        </p:spPr>
        <p:txBody>
          <a:bodyPr/>
          <a:lstStyle/>
          <a:p>
            <a:pPr rtl="0">
              <a:spcBef>
                <a:spcPts val="0"/>
              </a:spcBef>
            </a:pPr>
            <a:r>
              <a:rPr lang="en-GB" sz="2000" b="1" dirty="0">
                <a:latin typeface="Avenir Book"/>
                <a:ea typeface="Source Sans Pro Light"/>
              </a:rPr>
              <a:t>D3.1 – Benchmark and analysis tool – </a:t>
            </a:r>
            <a:r>
              <a:rPr lang="en-GB" sz="2000" b="1" dirty="0" err="1">
                <a:latin typeface="Avenir Book"/>
                <a:ea typeface="Source Sans Pro Light"/>
              </a:rPr>
              <a:t>Mindmap</a:t>
            </a:r>
            <a:br>
              <a:rPr lang="en-GB" sz="2000" b="1">
                <a:latin typeface="Avenir Book"/>
                <a:ea typeface="Source Sans Pro Light"/>
              </a:rPr>
            </a:br>
            <a:r>
              <a:rPr lang="en-GB" sz="2000" b="1">
                <a:latin typeface="Avenir Book"/>
                <a:ea typeface="Source Sans Pro Light"/>
              </a:rPr>
              <a:t>D4.1 – Benchmark and analysis tool – </a:t>
            </a:r>
            <a:r>
              <a:rPr lang="en-GB" sz="2000" b="1" err="1">
                <a:latin typeface="Avenir Book"/>
                <a:ea typeface="Source Sans Pro Light"/>
              </a:rPr>
              <a:t>Mindmap</a:t>
            </a:r>
            <a:endParaRPr lang="en-GB" sz="2000" b="1" err="1">
              <a:latin typeface="Avenir Book"/>
            </a:endParaRPr>
          </a:p>
        </p:txBody>
      </p:sp>
      <p:pic>
        <p:nvPicPr>
          <p:cNvPr id="3" name="Picture 2">
            <a:extLst>
              <a:ext uri="{FF2B5EF4-FFF2-40B4-BE49-F238E27FC236}">
                <a16:creationId xmlns:a16="http://schemas.microsoft.com/office/drawing/2014/main" id="{22E7E295-9447-7BD3-2C95-924C963051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76642" y="5463006"/>
            <a:ext cx="1352456" cy="900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que 4" descr="Poignée de main avec un remplissage uni">
            <a:extLst>
              <a:ext uri="{FF2B5EF4-FFF2-40B4-BE49-F238E27FC236}">
                <a16:creationId xmlns:a16="http://schemas.microsoft.com/office/drawing/2014/main" id="{7EF8E8C6-AE01-9E26-E889-2F1955B137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9851" y="1342765"/>
            <a:ext cx="2703530" cy="2703530"/>
          </a:xfrm>
          <a:prstGeom prst="rect">
            <a:avLst/>
          </a:prstGeom>
        </p:spPr>
      </p:pic>
      <p:sp>
        <p:nvSpPr>
          <p:cNvPr id="6" name="Espace réservé du texte 1">
            <a:extLst>
              <a:ext uri="{FF2B5EF4-FFF2-40B4-BE49-F238E27FC236}">
                <a16:creationId xmlns:a16="http://schemas.microsoft.com/office/drawing/2014/main" id="{4F7551E4-E314-1FDA-FBFC-8436267B9BDA}"/>
              </a:ext>
            </a:extLst>
          </p:cNvPr>
          <p:cNvSpPr txBox="1">
            <a:spLocks/>
          </p:cNvSpPr>
          <p:nvPr/>
        </p:nvSpPr>
        <p:spPr>
          <a:xfrm>
            <a:off x="7535953" y="4299634"/>
            <a:ext cx="4374105" cy="66954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defRPr/>
            </a:pPr>
            <a:r>
              <a:rPr lang="en-GB" b="1" dirty="0">
                <a:solidFill>
                  <a:srgbClr val="00B8C2"/>
                </a:solidFill>
                <a:latin typeface="Avenir Book"/>
                <a:ea typeface="Calibri" panose="020F0502020204030204" pitchFamily="34" charset="0"/>
              </a:rPr>
              <a:t>WP3 / WP4 – </a:t>
            </a:r>
            <a:br>
              <a:rPr lang="en-GB" b="1" dirty="0">
                <a:solidFill>
                  <a:srgbClr val="00B8C2"/>
                </a:solidFill>
                <a:latin typeface="Avenir Book"/>
                <a:ea typeface="Calibri" panose="020F0502020204030204" pitchFamily="34" charset="0"/>
              </a:rPr>
            </a:br>
            <a:r>
              <a:rPr lang="en-GB" b="1" dirty="0">
                <a:solidFill>
                  <a:srgbClr val="00B8C2"/>
                </a:solidFill>
                <a:latin typeface="Avenir Book"/>
                <a:ea typeface="Calibri" panose="020F0502020204030204" pitchFamily="34" charset="0"/>
              </a:rPr>
              <a:t>July 2025</a:t>
            </a:r>
            <a:endParaRPr lang="en-GB" b="1" dirty="0">
              <a:solidFill>
                <a:srgbClr val="00B8C2"/>
              </a:solidFill>
              <a:latin typeface="Avenir Book" panose="02000503020000020003" pitchFamily="2" charset="0"/>
              <a:ea typeface="Calibri" panose="020F0502020204030204" pitchFamily="34" charset="0"/>
            </a:endParaRPr>
          </a:p>
        </p:txBody>
      </p:sp>
      <p:sp>
        <p:nvSpPr>
          <p:cNvPr id="14" name="Rectangle 13">
            <a:extLst>
              <a:ext uri="{FF2B5EF4-FFF2-40B4-BE49-F238E27FC236}">
                <a16:creationId xmlns:a16="http://schemas.microsoft.com/office/drawing/2014/main" id="{3675B969-4C86-3A55-CFB0-A4CA2EB3BDCB}"/>
              </a:ext>
            </a:extLst>
          </p:cNvPr>
          <p:cNvSpPr/>
          <p:nvPr/>
        </p:nvSpPr>
        <p:spPr>
          <a:xfrm>
            <a:off x="9645560" y="5565067"/>
            <a:ext cx="2090630" cy="65659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fontAlgn="auto" latinLnBrk="0" hangingPunct="0">
              <a:lnSpc>
                <a:spcPct val="100000"/>
              </a:lnSpc>
              <a:spcBef>
                <a:spcPts val="0"/>
              </a:spcBef>
              <a:spcAft>
                <a:spcPts val="0"/>
              </a:spcAft>
              <a:buClrTx/>
              <a:buSzTx/>
              <a:buFontTx/>
              <a:buNone/>
              <a:tabLst/>
            </a:pPr>
            <a:r>
              <a:rPr kumimoji="0" lang="en-GB" b="1" i="0" u="none" strike="noStrike" cap="none" spc="0" normalizeH="0" baseline="0">
                <a:ln>
                  <a:noFill/>
                </a:ln>
                <a:effectLst/>
                <a:uFillTx/>
                <a:latin typeface="+mj-lt"/>
                <a:ea typeface="+mn-ea"/>
                <a:cs typeface="+mn-cs"/>
                <a:sym typeface="Helvetica Light"/>
              </a:rPr>
              <a:t>Co-funded by European Union</a:t>
            </a:r>
          </a:p>
        </p:txBody>
      </p:sp>
      <p:pic>
        <p:nvPicPr>
          <p:cNvPr id="15" name="Image 14" descr="Une image contenant texte&#10;&#10;Description générée automatiquement">
            <a:extLst>
              <a:ext uri="{FF2B5EF4-FFF2-40B4-BE49-F238E27FC236}">
                <a16:creationId xmlns:a16="http://schemas.microsoft.com/office/drawing/2014/main" id="{0CC0AD3B-AC93-3A73-E05D-ECFED93FD31D}"/>
              </a:ext>
            </a:extLst>
          </p:cNvPr>
          <p:cNvPicPr>
            <a:picLocks noChangeAspect="1"/>
          </p:cNvPicPr>
          <p:nvPr/>
        </p:nvPicPr>
        <p:blipFill rotWithShape="1">
          <a:blip r:embed="rId10">
            <a:extLst>
              <a:ext uri="{28A0092B-C50C-407E-A947-70E740481C1C}">
                <a14:useLocalDpi xmlns:a14="http://schemas.microsoft.com/office/drawing/2010/main" val="0"/>
              </a:ext>
            </a:extLst>
          </a:blip>
          <a:srcRect l="68457" t="17496" r="1591" b="36766"/>
          <a:stretch/>
        </p:blipFill>
        <p:spPr>
          <a:xfrm>
            <a:off x="8450368" y="2257495"/>
            <a:ext cx="2819400" cy="1862546"/>
          </a:xfrm>
          <a:prstGeom prst="rect">
            <a:avLst/>
          </a:prstGeom>
        </p:spPr>
      </p:pic>
      <p:sp>
        <p:nvSpPr>
          <p:cNvPr id="18" name="Rectangle 17">
            <a:extLst>
              <a:ext uri="{FF2B5EF4-FFF2-40B4-BE49-F238E27FC236}">
                <a16:creationId xmlns:a16="http://schemas.microsoft.com/office/drawing/2014/main" id="{7FB51921-F5DC-ADA7-4479-649EE31B41CA}"/>
              </a:ext>
            </a:extLst>
          </p:cNvPr>
          <p:cNvSpPr/>
          <p:nvPr/>
        </p:nvSpPr>
        <p:spPr>
          <a:xfrm>
            <a:off x="9094487" y="844667"/>
            <a:ext cx="434611"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7" name="Picture 6">
            <a:extLst>
              <a:ext uri="{FF2B5EF4-FFF2-40B4-BE49-F238E27FC236}">
                <a16:creationId xmlns:a16="http://schemas.microsoft.com/office/drawing/2014/main" id="{1AD2C2EE-5786-A55F-AA76-FB433E897152}"/>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8332952" y="1383319"/>
            <a:ext cx="540001" cy="36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15E75A2-BAF5-92D7-6800-4B9B60EC40DF}"/>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10390875" y="1383319"/>
            <a:ext cx="60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745CAB76-C559-823B-4552-C7A1A8339242}"/>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7538494" y="1371878"/>
            <a:ext cx="538922"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F4FBF392-D1E2-71CD-495C-22290389EF8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flipH="1" flipV="1">
            <a:off x="9128489" y="1233096"/>
            <a:ext cx="1006850" cy="67123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19B89C1-51F8-C9D2-A68D-01760647B90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46412" y="1383319"/>
            <a:ext cx="522839" cy="348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56953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CD2F5D9-9BB8-BA5F-89D3-C47D56556501}"/>
              </a:ext>
            </a:extLst>
          </p:cNvPr>
          <p:cNvGraphicFramePr>
            <a:graphicFrameLocks noChangeAspect="1"/>
          </p:cNvGraphicFramePr>
          <p:nvPr>
            <p:custDataLst>
              <p:tags r:id="rId1"/>
            </p:custDataLst>
            <p:extLst>
              <p:ext uri="{D42A27DB-BD31-4B8C-83A1-F6EECF244321}">
                <p14:modId xmlns:p14="http://schemas.microsoft.com/office/powerpoint/2010/main" val="403694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Objet 3" hidden="1">
                        <a:extLst>
                          <a:ext uri="{FF2B5EF4-FFF2-40B4-BE49-F238E27FC236}">
                            <a16:creationId xmlns:a16="http://schemas.microsoft.com/office/drawing/2014/main" id="{ECD2F5D9-9BB8-BA5F-89D3-C47D56556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4CC5F6EA-3BA2-582B-CA64-0414830E86B2}"/>
              </a:ext>
            </a:extLst>
          </p:cNvPr>
          <p:cNvSpPr>
            <a:spLocks noGrp="1"/>
          </p:cNvSpPr>
          <p:nvPr>
            <p:ph type="sldNum" sz="quarter" idx="2"/>
          </p:nvPr>
        </p:nvSpPr>
        <p:spPr/>
        <p:txBody>
          <a:bodyPr/>
          <a:lstStyle/>
          <a:p>
            <a:fld id="{D2D4539B-BA63-4FDA-A896-DC7ADFB317E4}" type="slidenum">
              <a:rPr lang="en-GB" smtClean="0"/>
              <a:pPr/>
              <a:t>2</a:t>
            </a:fld>
            <a:endParaRPr lang="en-GB"/>
          </a:p>
        </p:txBody>
      </p:sp>
      <p:sp>
        <p:nvSpPr>
          <p:cNvPr id="3" name="Titre 2">
            <a:extLst>
              <a:ext uri="{FF2B5EF4-FFF2-40B4-BE49-F238E27FC236}">
                <a16:creationId xmlns:a16="http://schemas.microsoft.com/office/drawing/2014/main" id="{0AF62BE3-7880-A19D-F768-6BA21E4B0E43}"/>
              </a:ext>
            </a:extLst>
          </p:cNvPr>
          <p:cNvSpPr>
            <a:spLocks noGrp="1"/>
          </p:cNvSpPr>
          <p:nvPr>
            <p:ph type="title"/>
          </p:nvPr>
        </p:nvSpPr>
        <p:spPr>
          <a:xfrm>
            <a:off x="850487" y="141197"/>
            <a:ext cx="10970037" cy="912185"/>
          </a:xfrm>
        </p:spPr>
        <p:txBody>
          <a:bodyPr vert="horz"/>
          <a:lstStyle/>
          <a:p>
            <a:r>
              <a:rPr lang="en-GB" sz="2400" b="0" cap="all" dirty="0">
                <a:solidFill>
                  <a:srgbClr val="172154"/>
                </a:solidFill>
                <a:latin typeface="Avenir Book"/>
                <a:ea typeface="Avenir Black" panose="020B0803020203020204" pitchFamily="34" charset="0"/>
                <a:cs typeface="Arial"/>
              </a:rPr>
              <a:t>Vocabulary </a:t>
            </a:r>
          </a:p>
        </p:txBody>
      </p:sp>
      <p:sp>
        <p:nvSpPr>
          <p:cNvPr id="20" name="Espace réservé du texte 3">
            <a:extLst>
              <a:ext uri="{FF2B5EF4-FFF2-40B4-BE49-F238E27FC236}">
                <a16:creationId xmlns:a16="http://schemas.microsoft.com/office/drawing/2014/main" id="{DD385A76-5405-2C37-BE71-F4929D332C56}"/>
              </a:ext>
            </a:extLst>
          </p:cNvPr>
          <p:cNvSpPr txBox="1">
            <a:spLocks/>
          </p:cNvSpPr>
          <p:nvPr/>
        </p:nvSpPr>
        <p:spPr>
          <a:xfrm>
            <a:off x="479425" y="1070906"/>
            <a:ext cx="5468793" cy="5343446"/>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u="sng" dirty="0">
                <a:solidFill>
                  <a:schemeClr val="tx1"/>
                </a:solidFill>
                <a:latin typeface="Avenir Book" panose="02000503020000020003" pitchFamily="2" charset="0"/>
              </a:rPr>
              <a:t>Products</a:t>
            </a:r>
            <a:endParaRPr lang="en-US" sz="1400" b="1" dirty="0">
              <a:solidFill>
                <a:schemeClr val="tx1"/>
              </a:solidFill>
              <a:latin typeface="Avenir Book" panose="02000503020000020003" pitchFamily="2" charset="0"/>
            </a:endParaRPr>
          </a:p>
          <a:p>
            <a:pPr marL="285750" indent="-285750"/>
            <a:r>
              <a:rPr lang="en-US" sz="1400" b="1" dirty="0">
                <a:latin typeface="Avenir Book"/>
              </a:rPr>
              <a:t>MEP systems products (Mechanical Electrical Plumbing): </a:t>
            </a:r>
            <a:r>
              <a:rPr lang="en-US" sz="1400" dirty="0">
                <a:latin typeface="Avenir Book"/>
              </a:rPr>
              <a:t>Technical products related to the Plumbing / Electricity / HVAC lots</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Building envelop products: </a:t>
            </a:r>
            <a:r>
              <a:rPr lang="en-US" sz="1400" dirty="0">
                <a:solidFill>
                  <a:schemeClr val="tx1"/>
                </a:solidFill>
                <a:latin typeface="Avenir Book" panose="02000503020000020003" pitchFamily="2" charset="0"/>
              </a:rPr>
              <a:t>Products related to the air and water tightness of the building</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1D Building Products: </a:t>
            </a:r>
            <a:r>
              <a:rPr lang="en-US" sz="1400" dirty="0">
                <a:solidFill>
                  <a:schemeClr val="tx1"/>
                </a:solidFill>
                <a:latin typeface="Avenir Book" panose="02000503020000020003" pitchFamily="2" charset="0"/>
              </a:rPr>
              <a:t>Manufacturers of beams, framing elements (wood/concrete/metal, etc.)</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2D Walls and assemblies: </a:t>
            </a:r>
            <a:r>
              <a:rPr lang="en-US" sz="1400" dirty="0">
                <a:solidFill>
                  <a:schemeClr val="tx1"/>
                </a:solidFill>
                <a:latin typeface="Avenir Book" panose="02000503020000020003" pitchFamily="2" charset="0"/>
              </a:rPr>
              <a:t>Surface elements such as facades or roofs, products that include several trades</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3D Modular:  </a:t>
            </a:r>
            <a:r>
              <a:rPr lang="en-US" sz="1400" dirty="0">
                <a:solidFill>
                  <a:schemeClr val="tx1"/>
                </a:solidFill>
                <a:latin typeface="Avenir Book" panose="02000503020000020003" pitchFamily="2" charset="0"/>
              </a:rPr>
              <a:t>Volume elements such as pre-assembled elements with walls, roof and floor, in 3 dimensions including almost all the trades in plants</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Preassembled MEP (industrial): </a:t>
            </a:r>
            <a:r>
              <a:rPr lang="en-US" sz="1400" dirty="0">
                <a:solidFill>
                  <a:schemeClr val="tx1"/>
                </a:solidFill>
                <a:latin typeface="Avenir Book" panose="02000503020000020003" pitchFamily="2" charset="0"/>
              </a:rPr>
              <a:t>Technical boxes, manufacturers of prefabricated technical ducts</a:t>
            </a:r>
          </a:p>
          <a:p>
            <a:pPr marL="285750" indent="-285750">
              <a:buFont typeface="Arial" panose="020B0604020202020204" pitchFamily="34" charset="0"/>
              <a:buChar char="•"/>
            </a:pPr>
            <a:r>
              <a:rPr lang="en-US" sz="1400" b="1" dirty="0">
                <a:solidFill>
                  <a:schemeClr val="tx1"/>
                </a:solidFill>
                <a:latin typeface="Avenir Book" panose="02000503020000020003" pitchFamily="2" charset="0"/>
              </a:rPr>
              <a:t>3D PODs: </a:t>
            </a:r>
            <a:r>
              <a:rPr lang="en-US" sz="1400" dirty="0">
                <a:solidFill>
                  <a:schemeClr val="tx1"/>
                </a:solidFill>
                <a:latin typeface="Avenir Book" panose="02000503020000020003" pitchFamily="2" charset="0"/>
              </a:rPr>
              <a:t>Prefabricated bathroom kits and finished kitchens</a:t>
            </a:r>
          </a:p>
        </p:txBody>
      </p:sp>
      <p:sp>
        <p:nvSpPr>
          <p:cNvPr id="24" name="Espace réservé du texte 3">
            <a:extLst>
              <a:ext uri="{FF2B5EF4-FFF2-40B4-BE49-F238E27FC236}">
                <a16:creationId xmlns:a16="http://schemas.microsoft.com/office/drawing/2014/main" id="{98EDAB1F-5B66-14A2-1AAA-4894BD7CE68B}"/>
              </a:ext>
            </a:extLst>
          </p:cNvPr>
          <p:cNvSpPr txBox="1">
            <a:spLocks/>
          </p:cNvSpPr>
          <p:nvPr/>
        </p:nvSpPr>
        <p:spPr>
          <a:xfrm>
            <a:off x="6335506" y="1053382"/>
            <a:ext cx="5468793" cy="5343446"/>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u="sng" dirty="0">
                <a:latin typeface="Avenir Book"/>
              </a:rPr>
              <a:t>Actors</a:t>
            </a:r>
          </a:p>
          <a:p>
            <a:pPr marL="285750" indent="-285750"/>
            <a:r>
              <a:rPr lang="en-US" sz="1400" b="1" dirty="0">
                <a:latin typeface="Avenir Book"/>
              </a:rPr>
              <a:t>Suppliers: </a:t>
            </a:r>
            <a:r>
              <a:rPr lang="en-US" sz="1400" dirty="0">
                <a:latin typeface="Avenir Book"/>
              </a:rPr>
              <a:t>Company providing technical components for industrials</a:t>
            </a:r>
          </a:p>
          <a:p>
            <a:pPr marL="285750" indent="-285750"/>
            <a:r>
              <a:rPr lang="en-US" sz="1400" b="1" dirty="0">
                <a:latin typeface="Avenir Book"/>
              </a:rPr>
              <a:t>Providers/Installers: </a:t>
            </a:r>
            <a:r>
              <a:rPr lang="en-US" sz="1400" dirty="0">
                <a:latin typeface="Avenir Book"/>
              </a:rPr>
              <a:t>Company installing technical components </a:t>
            </a:r>
            <a:endParaRPr lang="en-US" sz="1400" dirty="0">
              <a:latin typeface="Avenir Book" panose="02000503020000020003" pitchFamily="2" charset="0"/>
            </a:endParaRPr>
          </a:p>
          <a:p>
            <a:pPr marL="285750" indent="-285750"/>
            <a:r>
              <a:rPr lang="en-US" sz="1400" b="1" dirty="0">
                <a:latin typeface="Avenir Book"/>
              </a:rPr>
              <a:t>Industrials: </a:t>
            </a:r>
            <a:r>
              <a:rPr lang="en-US" sz="1400" dirty="0">
                <a:latin typeface="Avenir Book"/>
              </a:rPr>
              <a:t>Company manufacturing technical solution with materials from suppliers, manufacturing complex building products integrating several trades</a:t>
            </a:r>
          </a:p>
          <a:p>
            <a:pPr marL="285750" indent="-285750"/>
            <a:r>
              <a:rPr lang="en-US" sz="1400" b="1" dirty="0">
                <a:latin typeface="Avenir Book"/>
              </a:rPr>
              <a:t>Integrators: </a:t>
            </a:r>
            <a:r>
              <a:rPr lang="en-US" sz="1400" dirty="0">
                <a:latin typeface="Avenir Book"/>
              </a:rPr>
              <a:t>Company that integrate industrial solutions on the building site, it can be General contractors, fitters or industrials themselves</a:t>
            </a:r>
          </a:p>
          <a:p>
            <a:pPr marL="285750" indent="-285750"/>
            <a:r>
              <a:rPr lang="en-US" sz="1400" b="1" dirty="0">
                <a:latin typeface="Avenir Book"/>
              </a:rPr>
              <a:t>MMC experts: </a:t>
            </a:r>
            <a:r>
              <a:rPr lang="en-US" sz="1400" dirty="0">
                <a:latin typeface="Avenir Book"/>
              </a:rPr>
              <a:t>Company of experts specialized in the Modern Methods of Construction like lean construction, off-site building ; most of time it is building owners consultants</a:t>
            </a:r>
          </a:p>
          <a:p>
            <a:pPr marL="285750" indent="-285750"/>
            <a:r>
              <a:rPr lang="en-US" sz="1400" b="1" dirty="0">
                <a:latin typeface="Avenir Book"/>
              </a:rPr>
              <a:t>General contractors: </a:t>
            </a:r>
            <a:r>
              <a:rPr lang="en-US" sz="1400" dirty="0">
                <a:latin typeface="Avenir Book"/>
              </a:rPr>
              <a:t>responsible for the day-to-day realization of a </a:t>
            </a:r>
            <a:r>
              <a:rPr lang="en-US" sz="1400" dirty="0">
                <a:latin typeface="Avenir Book"/>
                <a:hlinkClick r:id="rId5">
                  <a:extLst>
                    <a:ext uri="{A12FA001-AC4F-418D-AE19-62706E023703}">
                      <ahyp:hlinkClr xmlns:ahyp="http://schemas.microsoft.com/office/drawing/2018/hyperlinkcolor" val="tx"/>
                    </a:ext>
                  </a:extLst>
                </a:hlinkClick>
              </a:rPr>
              <a:t>construction</a:t>
            </a:r>
            <a:r>
              <a:rPr lang="en-US" sz="1400" dirty="0">
                <a:latin typeface="Avenir Book"/>
              </a:rPr>
              <a:t> site with all the trades involved, management of vendors and trades, and the communication of information to all involved parties. Il can be internal skills or subcontracting trades.</a:t>
            </a:r>
          </a:p>
          <a:p>
            <a:pPr marL="285750" indent="-285750"/>
            <a:r>
              <a:rPr lang="en-US" sz="1400" b="1" dirty="0">
                <a:latin typeface="Avenir Book"/>
              </a:rPr>
              <a:t>Manufacturing solutions (industrial process): </a:t>
            </a:r>
            <a:r>
              <a:rPr lang="en-US" sz="1400" dirty="0">
                <a:latin typeface="Avenir Book"/>
              </a:rPr>
              <a:t>Company that sell manufacturing tools needed to produce the industrial solution.</a:t>
            </a:r>
          </a:p>
          <a:p>
            <a:pPr marL="285750" indent="-285750">
              <a:buFont typeface="Arial" panose="020B0604020202020204" pitchFamily="34" charset="0"/>
              <a:buChar char="•"/>
            </a:pPr>
            <a:r>
              <a:rPr lang="fr-FR" sz="1400" b="1" dirty="0">
                <a:latin typeface="Avenir Book"/>
              </a:rPr>
              <a:t>Architecture </a:t>
            </a:r>
            <a:r>
              <a:rPr lang="fr-FR" sz="1400" b="1" dirty="0" err="1">
                <a:latin typeface="Avenir Book"/>
              </a:rPr>
              <a:t>firm</a:t>
            </a:r>
            <a:r>
              <a:rPr lang="fr-FR" sz="1400" b="1" dirty="0">
                <a:latin typeface="Avenir Book"/>
              </a:rPr>
              <a:t> / Project Manager (PM) / Design Office (DO)</a:t>
            </a:r>
            <a:r>
              <a:rPr lang="en-US" sz="1400" b="1" dirty="0">
                <a:latin typeface="Avenir Book"/>
              </a:rPr>
              <a:t>: </a:t>
            </a:r>
            <a:r>
              <a:rPr lang="en-US" sz="1400" dirty="0">
                <a:latin typeface="Avenir Book"/>
              </a:rPr>
              <a:t>Company that helps actors of the process with his expertise </a:t>
            </a:r>
          </a:p>
          <a:p>
            <a:pPr marL="285750" indent="-285750">
              <a:lnSpc>
                <a:spcPct val="110000"/>
              </a:lnSpc>
              <a:buFont typeface="Arial" panose="020B0604020202020204" pitchFamily="34" charset="0"/>
              <a:buChar char="•"/>
            </a:pPr>
            <a:r>
              <a:rPr lang="en-US" sz="1400" b="1" dirty="0">
                <a:latin typeface="Avenir Book"/>
              </a:rPr>
              <a:t>Diagnostic expert</a:t>
            </a:r>
            <a:r>
              <a:rPr lang="en-US" sz="1400" dirty="0">
                <a:latin typeface="Avenir Book"/>
              </a:rPr>
              <a:t>: geotechnical, 3D scan</a:t>
            </a:r>
          </a:p>
          <a:p>
            <a:pPr marL="285750" indent="-285750"/>
            <a:endParaRPr lang="en-US" sz="1400">
              <a:latin typeface="Avenir Book" panose="02000503020000020003" pitchFamily="2" charset="0"/>
            </a:endParaRPr>
          </a:p>
        </p:txBody>
      </p:sp>
    </p:spTree>
    <p:extLst>
      <p:ext uri="{BB962C8B-B14F-4D97-AF65-F5344CB8AC3E}">
        <p14:creationId xmlns:p14="http://schemas.microsoft.com/office/powerpoint/2010/main" val="30815488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CD2F5D9-9BB8-BA5F-89D3-C47D565565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Objet 3" hidden="1">
                        <a:extLst>
                          <a:ext uri="{FF2B5EF4-FFF2-40B4-BE49-F238E27FC236}">
                            <a16:creationId xmlns:a16="http://schemas.microsoft.com/office/drawing/2014/main" id="{ECD2F5D9-9BB8-BA5F-89D3-C47D56556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4CC5F6EA-3BA2-582B-CA64-0414830E86B2}"/>
              </a:ext>
            </a:extLst>
          </p:cNvPr>
          <p:cNvSpPr>
            <a:spLocks noGrp="1"/>
          </p:cNvSpPr>
          <p:nvPr>
            <p:ph type="sldNum" sz="quarter" idx="2"/>
          </p:nvPr>
        </p:nvSpPr>
        <p:spPr/>
        <p:txBody>
          <a:bodyPr/>
          <a:lstStyle/>
          <a:p>
            <a:fld id="{D2D4539B-BA63-4FDA-A896-DC7ADFB317E4}" type="slidenum">
              <a:rPr lang="en-GB" smtClean="0"/>
              <a:pPr/>
              <a:t>3</a:t>
            </a:fld>
            <a:endParaRPr lang="en-GB"/>
          </a:p>
        </p:txBody>
      </p:sp>
      <p:sp>
        <p:nvSpPr>
          <p:cNvPr id="3" name="Titre 2">
            <a:extLst>
              <a:ext uri="{FF2B5EF4-FFF2-40B4-BE49-F238E27FC236}">
                <a16:creationId xmlns:a16="http://schemas.microsoft.com/office/drawing/2014/main" id="{0AF62BE3-7880-A19D-F768-6BA21E4B0E43}"/>
              </a:ext>
            </a:extLst>
          </p:cNvPr>
          <p:cNvSpPr>
            <a:spLocks noGrp="1"/>
          </p:cNvSpPr>
          <p:nvPr>
            <p:ph type="title"/>
          </p:nvPr>
        </p:nvSpPr>
        <p:spPr>
          <a:xfrm>
            <a:off x="848175" y="155626"/>
            <a:ext cx="10970037" cy="912185"/>
          </a:xfrm>
        </p:spPr>
        <p:txBody>
          <a:bodyPr vert="horz"/>
          <a:lstStyle/>
          <a:p>
            <a:r>
              <a:rPr lang="fr-FR" sz="2800" dirty="0">
                <a:solidFill>
                  <a:srgbClr val="00B8C2"/>
                </a:solidFill>
                <a:latin typeface="Avenir Book" panose="02000503020000020003" pitchFamily="2" charset="0"/>
                <a:ea typeface="Calibri" panose="020F0502020204030204" pitchFamily="34" charset="0"/>
                <a:cs typeface="+mn-cs"/>
              </a:rPr>
              <a:t>ALL</a:t>
            </a:r>
            <a:r>
              <a:rPr kumimoji="0" lang="fr-FR" sz="2400" b="0" i="0" u="none" strike="noStrike" kern="1200" cap="all" spc="0" normalizeH="0" baseline="0" noProof="0" dirty="0">
                <a:ln>
                  <a:noFill/>
                </a:ln>
                <a:solidFill>
                  <a:srgbClr val="078970"/>
                </a:solidFill>
                <a:effectLst/>
                <a:uLnTx/>
                <a:uFillTx/>
                <a:latin typeface="Avenir Book" panose="02000503020000020003" pitchFamily="2" charset="0"/>
                <a:ea typeface="Avenir Black" panose="020B0803020203020204" pitchFamily="34" charset="0"/>
                <a:cs typeface="Arial"/>
              </a:rPr>
              <a:t> </a:t>
            </a:r>
            <a:r>
              <a:rPr kumimoji="0" lang="fr-FR" sz="2400" b="0" i="0" u="none" strike="noStrike" kern="1200" cap="all" spc="0" normalizeH="0" baseline="0" noProof="0" dirty="0">
                <a:ln>
                  <a:noFill/>
                </a:ln>
                <a:solidFill>
                  <a:srgbClr val="172154"/>
                </a:solidFill>
                <a:effectLst/>
                <a:uLnTx/>
                <a:uFillTx/>
                <a:latin typeface="Avenir Book" panose="02000503020000020003" pitchFamily="2" charset="0"/>
                <a:ea typeface="Avenir Black" panose="020B0803020203020204" pitchFamily="34" charset="0"/>
                <a:cs typeface="Arial"/>
              </a:rPr>
              <a:t>– Retrofit &amp; NewBuild</a:t>
            </a:r>
            <a:endParaRPr lang="en-GB" sz="2800" dirty="0">
              <a:latin typeface="Avenir Book" panose="02000503020000020003" pitchFamily="2" charset="0"/>
            </a:endParaRPr>
          </a:p>
        </p:txBody>
      </p:sp>
      <p:sp>
        <p:nvSpPr>
          <p:cNvPr id="5" name="ZoneTexte 4">
            <a:extLst>
              <a:ext uri="{FF2B5EF4-FFF2-40B4-BE49-F238E27FC236}">
                <a16:creationId xmlns:a16="http://schemas.microsoft.com/office/drawing/2014/main" id="{FA8F2B4C-13B9-3B55-6BF9-CEEEB2A3B0FE}"/>
              </a:ext>
            </a:extLst>
          </p:cNvPr>
          <p:cNvSpPr txBox="1"/>
          <p:nvPr/>
        </p:nvSpPr>
        <p:spPr>
          <a:xfrm>
            <a:off x="5420890" y="827162"/>
            <a:ext cx="1350220" cy="261610"/>
          </a:xfrm>
          <a:prstGeom prst="rect">
            <a:avLst/>
          </a:prstGeom>
          <a:solidFill>
            <a:schemeClr val="accent3">
              <a:lumMod val="20000"/>
              <a:lumOff val="80000"/>
            </a:schemeClr>
          </a:solidFill>
          <a:ln>
            <a:solidFill>
              <a:schemeClr val="tx1"/>
            </a:solidFill>
          </a:ln>
        </p:spPr>
        <p:txBody>
          <a:bodyPr wrap="square" rtlCol="0">
            <a:spAutoFit/>
          </a:bodyPr>
          <a:lstStyle/>
          <a:p>
            <a:pPr algn="ctr"/>
            <a:r>
              <a:rPr lang="fr-FR" sz="1100" dirty="0">
                <a:latin typeface="Avenir Book" panose="02000503020000020003" pitchFamily="2" charset="0"/>
                <a:ea typeface="Avenir Black" panose="020B0803020203020204" pitchFamily="34" charset="0"/>
              </a:rPr>
              <a:t>GRF market</a:t>
            </a:r>
          </a:p>
        </p:txBody>
      </p:sp>
      <p:sp>
        <p:nvSpPr>
          <p:cNvPr id="6" name="ZoneTexte 5">
            <a:extLst>
              <a:ext uri="{FF2B5EF4-FFF2-40B4-BE49-F238E27FC236}">
                <a16:creationId xmlns:a16="http://schemas.microsoft.com/office/drawing/2014/main" id="{8D7678C8-C2D2-25E3-F5DA-03D7983EBCD4}"/>
              </a:ext>
            </a:extLst>
          </p:cNvPr>
          <p:cNvSpPr txBox="1"/>
          <p:nvPr/>
        </p:nvSpPr>
        <p:spPr>
          <a:xfrm>
            <a:off x="490652" y="1793406"/>
            <a:ext cx="1167758" cy="769441"/>
          </a:xfrm>
          <a:prstGeom prst="rect">
            <a:avLst/>
          </a:prstGeom>
          <a:solidFill>
            <a:schemeClr val="accent4">
              <a:lumMod val="20000"/>
              <a:lumOff val="80000"/>
            </a:schemeClr>
          </a:solidFill>
          <a:ln>
            <a:solidFill>
              <a:schemeClr val="tx1"/>
            </a:solidFill>
          </a:ln>
        </p:spPr>
        <p:txBody>
          <a:bodyPr wrap="square" rtlCol="0" anchor="ctr">
            <a:spAutoFit/>
          </a:bodyPr>
          <a:lstStyle/>
          <a:p>
            <a:pPr algn="ctr"/>
            <a:r>
              <a:rPr lang="fr-FR" sz="1100" dirty="0">
                <a:latin typeface="Avenir Book" panose="02000503020000020003" pitchFamily="2" charset="0"/>
                <a:ea typeface="Avenir Black" panose="020B0803020203020204" pitchFamily="34" charset="0"/>
              </a:rPr>
              <a:t>Manufacturing solutions (industrial process)</a:t>
            </a:r>
          </a:p>
        </p:txBody>
      </p:sp>
      <p:sp>
        <p:nvSpPr>
          <p:cNvPr id="7" name="ZoneTexte 6">
            <a:extLst>
              <a:ext uri="{FF2B5EF4-FFF2-40B4-BE49-F238E27FC236}">
                <a16:creationId xmlns:a16="http://schemas.microsoft.com/office/drawing/2014/main" id="{43515F19-C713-CFE3-71D1-4197DD18476E}"/>
              </a:ext>
            </a:extLst>
          </p:cNvPr>
          <p:cNvSpPr txBox="1"/>
          <p:nvPr/>
        </p:nvSpPr>
        <p:spPr>
          <a:xfrm>
            <a:off x="5426592" y="2084316"/>
            <a:ext cx="1362074" cy="261610"/>
          </a:xfrm>
          <a:prstGeom prst="rect">
            <a:avLst/>
          </a:prstGeom>
          <a:solidFill>
            <a:schemeClr val="accent4">
              <a:lumMod val="20000"/>
              <a:lumOff val="80000"/>
            </a:schemeClr>
          </a:solidFill>
          <a:ln>
            <a:solidFill>
              <a:schemeClr val="tx1"/>
            </a:solidFill>
          </a:ln>
        </p:spPr>
        <p:txBody>
          <a:bodyPr wrap="square" rtlCol="0" anchor="ctr">
            <a:spAutoFit/>
          </a:bodyPr>
          <a:lstStyle/>
          <a:p>
            <a:pPr algn="ctr"/>
            <a:r>
              <a:rPr lang="fr-FR" sz="1100" dirty="0">
                <a:latin typeface="Avenir Book" panose="02000503020000020003" pitchFamily="2" charset="0"/>
                <a:ea typeface="Avenir Black" panose="020B0803020203020204" pitchFamily="34" charset="0"/>
              </a:rPr>
              <a:t>Companies</a:t>
            </a:r>
          </a:p>
        </p:txBody>
      </p:sp>
      <p:sp>
        <p:nvSpPr>
          <p:cNvPr id="8" name="ZoneTexte 7">
            <a:extLst>
              <a:ext uri="{FF2B5EF4-FFF2-40B4-BE49-F238E27FC236}">
                <a16:creationId xmlns:a16="http://schemas.microsoft.com/office/drawing/2014/main" id="{E7C331FD-762F-D262-16C2-F03A5769BADF}"/>
              </a:ext>
            </a:extLst>
          </p:cNvPr>
          <p:cNvSpPr txBox="1"/>
          <p:nvPr/>
        </p:nvSpPr>
        <p:spPr>
          <a:xfrm>
            <a:off x="11146859" y="2039461"/>
            <a:ext cx="739195" cy="430887"/>
          </a:xfrm>
          <a:prstGeom prst="rect">
            <a:avLst/>
          </a:prstGeom>
          <a:solidFill>
            <a:schemeClr val="accent4">
              <a:lumMod val="20000"/>
              <a:lumOff val="80000"/>
            </a:schemeClr>
          </a:solidFill>
          <a:ln>
            <a:solidFill>
              <a:schemeClr val="tx1"/>
            </a:solidFill>
          </a:ln>
        </p:spPr>
        <p:txBody>
          <a:bodyPr wrap="square" rtlCol="0" anchor="ctr">
            <a:spAutoFit/>
          </a:bodyPr>
          <a:lstStyle/>
          <a:p>
            <a:pPr algn="ctr"/>
            <a:r>
              <a:rPr lang="fr-FR" sz="1100" dirty="0">
                <a:latin typeface="Avenir Book" panose="02000503020000020003" pitchFamily="2" charset="0"/>
                <a:ea typeface="Avenir Black" panose="020B0803020203020204" pitchFamily="34" charset="0"/>
              </a:rPr>
              <a:t>MMC Expert</a:t>
            </a:r>
          </a:p>
        </p:txBody>
      </p:sp>
      <p:sp>
        <p:nvSpPr>
          <p:cNvPr id="9" name="ZoneTexte 8">
            <a:extLst>
              <a:ext uri="{FF2B5EF4-FFF2-40B4-BE49-F238E27FC236}">
                <a16:creationId xmlns:a16="http://schemas.microsoft.com/office/drawing/2014/main" id="{C6CDD1B5-D3EB-42D5-467B-0FF83A9F6839}"/>
              </a:ext>
            </a:extLst>
          </p:cNvPr>
          <p:cNvSpPr txBox="1"/>
          <p:nvPr/>
        </p:nvSpPr>
        <p:spPr>
          <a:xfrm>
            <a:off x="9999873" y="2542377"/>
            <a:ext cx="1319537" cy="261610"/>
          </a:xfrm>
          <a:prstGeom prst="rect">
            <a:avLst/>
          </a:prstGeom>
          <a:noFill/>
        </p:spPr>
        <p:txBody>
          <a:bodyPr wrap="square" rtlCol="0">
            <a:spAutoFit/>
          </a:bodyPr>
          <a:lstStyle/>
          <a:p>
            <a:pPr algn="r"/>
            <a:r>
              <a:rPr lang="fr-FR" sz="1100" i="1" dirty="0">
                <a:latin typeface="Avenir Book" panose="02000503020000020003" pitchFamily="2" charset="0"/>
              </a:rPr>
              <a:t>Integration</a:t>
            </a:r>
          </a:p>
        </p:txBody>
      </p:sp>
      <p:sp>
        <p:nvSpPr>
          <p:cNvPr id="10" name="ZoneTexte 9">
            <a:extLst>
              <a:ext uri="{FF2B5EF4-FFF2-40B4-BE49-F238E27FC236}">
                <a16:creationId xmlns:a16="http://schemas.microsoft.com/office/drawing/2014/main" id="{D8DC2CFF-33C0-0A62-9E30-78440C19D594}"/>
              </a:ext>
            </a:extLst>
          </p:cNvPr>
          <p:cNvSpPr txBox="1"/>
          <p:nvPr/>
        </p:nvSpPr>
        <p:spPr>
          <a:xfrm>
            <a:off x="9999873" y="2837395"/>
            <a:ext cx="1319537" cy="261610"/>
          </a:xfrm>
          <a:prstGeom prst="rect">
            <a:avLst/>
          </a:prstGeom>
          <a:noFill/>
        </p:spPr>
        <p:txBody>
          <a:bodyPr wrap="square" lIns="91440" tIns="45720" rIns="91440" bIns="45720" rtlCol="0" anchor="t">
            <a:spAutoFit/>
          </a:bodyPr>
          <a:lstStyle/>
          <a:p>
            <a:pPr algn="r"/>
            <a:r>
              <a:rPr lang="en-US" sz="1100" i="1" dirty="0">
                <a:latin typeface="Avenir Book" panose="02000503020000020003" pitchFamily="2" charset="0"/>
              </a:rPr>
              <a:t>Industrialization</a:t>
            </a:r>
            <a:endParaRPr lang="fr-FR" sz="1100" i="1" dirty="0">
              <a:latin typeface="Avenir Book" panose="02000503020000020003" pitchFamily="2" charset="0"/>
            </a:endParaRPr>
          </a:p>
        </p:txBody>
      </p:sp>
      <p:sp>
        <p:nvSpPr>
          <p:cNvPr id="11" name="ZoneTexte 10">
            <a:extLst>
              <a:ext uri="{FF2B5EF4-FFF2-40B4-BE49-F238E27FC236}">
                <a16:creationId xmlns:a16="http://schemas.microsoft.com/office/drawing/2014/main" id="{7C6223E4-C923-9A61-CF6E-51EF6711AFBB}"/>
              </a:ext>
            </a:extLst>
          </p:cNvPr>
          <p:cNvSpPr txBox="1"/>
          <p:nvPr/>
        </p:nvSpPr>
        <p:spPr>
          <a:xfrm>
            <a:off x="9779768" y="3139875"/>
            <a:ext cx="1539642" cy="261610"/>
          </a:xfrm>
          <a:prstGeom prst="rect">
            <a:avLst/>
          </a:prstGeom>
          <a:noFill/>
        </p:spPr>
        <p:txBody>
          <a:bodyPr wrap="square" lIns="91440" tIns="45720" rIns="91440" bIns="45720" rtlCol="0" anchor="t">
            <a:spAutoFit/>
          </a:bodyPr>
          <a:lstStyle/>
          <a:p>
            <a:pPr algn="r"/>
            <a:r>
              <a:rPr lang="fr-FR" sz="1100" i="1" dirty="0">
                <a:latin typeface="Avenir Book" panose="02000503020000020003" pitchFamily="2" charset="0"/>
              </a:rPr>
              <a:t>Project management</a:t>
            </a:r>
          </a:p>
        </p:txBody>
      </p:sp>
      <p:cxnSp>
        <p:nvCxnSpPr>
          <p:cNvPr id="12" name="Connecteur : en angle 11">
            <a:extLst>
              <a:ext uri="{FF2B5EF4-FFF2-40B4-BE49-F238E27FC236}">
                <a16:creationId xmlns:a16="http://schemas.microsoft.com/office/drawing/2014/main" id="{7442AE3D-0B3D-B920-C661-2C800EBA2D74}"/>
              </a:ext>
            </a:extLst>
          </p:cNvPr>
          <p:cNvCxnSpPr>
            <a:cxnSpLocks/>
            <a:stCxn id="13" idx="2"/>
            <a:endCxn id="18" idx="1"/>
          </p:cNvCxnSpPr>
          <p:nvPr/>
        </p:nvCxnSpPr>
        <p:spPr>
          <a:xfrm rot="16200000" flipH="1">
            <a:off x="497250" y="3805332"/>
            <a:ext cx="1110868" cy="12596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36F0A52C-FC27-911B-EFA6-84525E84649B}"/>
              </a:ext>
            </a:extLst>
          </p:cNvPr>
          <p:cNvSpPr txBox="1"/>
          <p:nvPr/>
        </p:nvSpPr>
        <p:spPr>
          <a:xfrm>
            <a:off x="585179" y="3051269"/>
            <a:ext cx="809049" cy="261610"/>
          </a:xfrm>
          <a:prstGeom prst="rect">
            <a:avLst/>
          </a:prstGeom>
          <a:solidFill>
            <a:schemeClr val="accent5">
              <a:lumMod val="40000"/>
              <a:lumOff val="60000"/>
            </a:schemeClr>
          </a:solidFill>
          <a:ln>
            <a:solidFill>
              <a:schemeClr val="tx1"/>
            </a:solidFill>
          </a:ln>
        </p:spPr>
        <p:txBody>
          <a:bodyPr wrap="square" rtlCol="0">
            <a:spAutoFit/>
          </a:bodyPr>
          <a:lstStyle/>
          <a:p>
            <a:pPr algn="ctr"/>
            <a:r>
              <a:rPr lang="fr-FR" sz="1100" dirty="0">
                <a:latin typeface="Avenir Book" panose="02000503020000020003" pitchFamily="2" charset="0"/>
              </a:rPr>
              <a:t>Services</a:t>
            </a:r>
          </a:p>
        </p:txBody>
      </p:sp>
      <p:sp>
        <p:nvSpPr>
          <p:cNvPr id="14" name="ZoneTexte 13">
            <a:extLst>
              <a:ext uri="{FF2B5EF4-FFF2-40B4-BE49-F238E27FC236}">
                <a16:creationId xmlns:a16="http://schemas.microsoft.com/office/drawing/2014/main" id="{B40226ED-DBE7-188F-D674-2A306CF23D7D}"/>
              </a:ext>
            </a:extLst>
          </p:cNvPr>
          <p:cNvSpPr txBox="1"/>
          <p:nvPr/>
        </p:nvSpPr>
        <p:spPr>
          <a:xfrm>
            <a:off x="6126760" y="4555498"/>
            <a:ext cx="864000" cy="261610"/>
          </a:xfrm>
          <a:prstGeom prst="rect">
            <a:avLst/>
          </a:prstGeom>
          <a:solidFill>
            <a:schemeClr val="accent5">
              <a:lumMod val="40000"/>
              <a:lumOff val="60000"/>
            </a:schemeClr>
          </a:solidFill>
          <a:ln>
            <a:solidFill>
              <a:schemeClr val="tx1"/>
            </a:solidFill>
          </a:ln>
        </p:spPr>
        <p:txBody>
          <a:bodyPr wrap="square" rtlCol="0">
            <a:spAutoFit/>
          </a:bodyPr>
          <a:lstStyle/>
          <a:p>
            <a:pPr algn="ctr"/>
            <a:r>
              <a:rPr lang="fr-FR" sz="1100" dirty="0">
                <a:latin typeface="Avenir Book" panose="02000503020000020003" pitchFamily="2" charset="0"/>
              </a:rPr>
              <a:t>Industrials</a:t>
            </a:r>
          </a:p>
        </p:txBody>
      </p:sp>
      <p:sp>
        <p:nvSpPr>
          <p:cNvPr id="15" name="ZoneTexte 14">
            <a:extLst>
              <a:ext uri="{FF2B5EF4-FFF2-40B4-BE49-F238E27FC236}">
                <a16:creationId xmlns:a16="http://schemas.microsoft.com/office/drawing/2014/main" id="{F18A4E27-49C4-50A2-0F2F-9D3A600C06F8}"/>
              </a:ext>
            </a:extLst>
          </p:cNvPr>
          <p:cNvSpPr txBox="1"/>
          <p:nvPr/>
        </p:nvSpPr>
        <p:spPr>
          <a:xfrm>
            <a:off x="9044445" y="4549572"/>
            <a:ext cx="864000" cy="261610"/>
          </a:xfrm>
          <a:prstGeom prst="rect">
            <a:avLst/>
          </a:prstGeom>
          <a:solidFill>
            <a:schemeClr val="accent5">
              <a:lumMod val="40000"/>
              <a:lumOff val="60000"/>
            </a:schemeClr>
          </a:solidFill>
          <a:ln>
            <a:solidFill>
              <a:schemeClr val="tx1"/>
            </a:solidFill>
          </a:ln>
        </p:spPr>
        <p:txBody>
          <a:bodyPr wrap="square" rtlCol="0">
            <a:spAutoFit/>
          </a:bodyPr>
          <a:lstStyle/>
          <a:p>
            <a:pPr algn="ctr"/>
            <a:r>
              <a:rPr lang="fr-FR" sz="1100" dirty="0">
                <a:latin typeface="Avenir Book" panose="02000503020000020003" pitchFamily="2" charset="0"/>
              </a:rPr>
              <a:t>Integrators</a:t>
            </a:r>
          </a:p>
        </p:txBody>
      </p:sp>
      <p:sp>
        <p:nvSpPr>
          <p:cNvPr id="16" name="ZoneTexte 15">
            <a:extLst>
              <a:ext uri="{FF2B5EF4-FFF2-40B4-BE49-F238E27FC236}">
                <a16:creationId xmlns:a16="http://schemas.microsoft.com/office/drawing/2014/main" id="{2ADF08F4-950C-6C80-307A-6584B8B4D65E}"/>
              </a:ext>
            </a:extLst>
          </p:cNvPr>
          <p:cNvSpPr txBox="1"/>
          <p:nvPr/>
        </p:nvSpPr>
        <p:spPr>
          <a:xfrm>
            <a:off x="1138992" y="3653928"/>
            <a:ext cx="1727202" cy="261610"/>
          </a:xfrm>
          <a:prstGeom prst="rect">
            <a:avLst/>
          </a:prstGeom>
          <a:noFill/>
        </p:spPr>
        <p:txBody>
          <a:bodyPr wrap="square" rtlCol="0">
            <a:spAutoFit/>
          </a:bodyPr>
          <a:lstStyle/>
          <a:p>
            <a:r>
              <a:rPr lang="fr-FR" sz="1100" i="1" dirty="0">
                <a:latin typeface="Avenir Book" panose="02000503020000020003" pitchFamily="2" charset="0"/>
              </a:rPr>
              <a:t>BMS expert</a:t>
            </a:r>
          </a:p>
        </p:txBody>
      </p:sp>
      <p:sp>
        <p:nvSpPr>
          <p:cNvPr id="17" name="ZoneTexte 16">
            <a:extLst>
              <a:ext uri="{FF2B5EF4-FFF2-40B4-BE49-F238E27FC236}">
                <a16:creationId xmlns:a16="http://schemas.microsoft.com/office/drawing/2014/main" id="{B3336D92-5C32-313F-8615-0067066994FF}"/>
              </a:ext>
            </a:extLst>
          </p:cNvPr>
          <p:cNvSpPr txBox="1"/>
          <p:nvPr/>
        </p:nvSpPr>
        <p:spPr>
          <a:xfrm>
            <a:off x="1138992" y="3948946"/>
            <a:ext cx="1727202" cy="261610"/>
          </a:xfrm>
          <a:prstGeom prst="rect">
            <a:avLst/>
          </a:prstGeom>
          <a:noFill/>
        </p:spPr>
        <p:txBody>
          <a:bodyPr wrap="square" rtlCol="0">
            <a:spAutoFit/>
          </a:bodyPr>
          <a:lstStyle/>
          <a:p>
            <a:r>
              <a:rPr lang="fr-FR" sz="1100" i="1" dirty="0">
                <a:latin typeface="Avenir Book" panose="02000503020000020003" pitchFamily="2" charset="0"/>
              </a:rPr>
              <a:t>BIM expert</a:t>
            </a:r>
          </a:p>
        </p:txBody>
      </p:sp>
      <p:sp>
        <p:nvSpPr>
          <p:cNvPr id="18" name="ZoneTexte 17">
            <a:extLst>
              <a:ext uri="{FF2B5EF4-FFF2-40B4-BE49-F238E27FC236}">
                <a16:creationId xmlns:a16="http://schemas.microsoft.com/office/drawing/2014/main" id="{0B509EF8-98D5-1604-8462-D731AC8885A8}"/>
              </a:ext>
            </a:extLst>
          </p:cNvPr>
          <p:cNvSpPr txBox="1"/>
          <p:nvPr/>
        </p:nvSpPr>
        <p:spPr>
          <a:xfrm>
            <a:off x="1115665" y="4292942"/>
            <a:ext cx="1944822" cy="261610"/>
          </a:xfrm>
          <a:prstGeom prst="rect">
            <a:avLst/>
          </a:prstGeom>
          <a:noFill/>
        </p:spPr>
        <p:txBody>
          <a:bodyPr wrap="square" rtlCol="0">
            <a:spAutoFit/>
          </a:bodyPr>
          <a:lstStyle/>
          <a:p>
            <a:r>
              <a:rPr lang="fr-FR" sz="1100" i="1" dirty="0">
                <a:latin typeface="Avenir Book" panose="02000503020000020003" pitchFamily="2" charset="0"/>
              </a:rPr>
              <a:t>Diagnostic expert</a:t>
            </a:r>
          </a:p>
        </p:txBody>
      </p:sp>
      <p:sp>
        <p:nvSpPr>
          <p:cNvPr id="19" name="ZoneTexte 18">
            <a:extLst>
              <a:ext uri="{FF2B5EF4-FFF2-40B4-BE49-F238E27FC236}">
                <a16:creationId xmlns:a16="http://schemas.microsoft.com/office/drawing/2014/main" id="{5F20B5C2-ADB1-0F9F-9DA3-0EB24FAF8578}"/>
              </a:ext>
            </a:extLst>
          </p:cNvPr>
          <p:cNvSpPr txBox="1"/>
          <p:nvPr/>
        </p:nvSpPr>
        <p:spPr>
          <a:xfrm>
            <a:off x="6751395" y="4999143"/>
            <a:ext cx="1727202" cy="261610"/>
          </a:xfrm>
          <a:prstGeom prst="rect">
            <a:avLst/>
          </a:prstGeom>
          <a:noFill/>
        </p:spPr>
        <p:txBody>
          <a:bodyPr wrap="square" rtlCol="0">
            <a:spAutoFit/>
          </a:bodyPr>
          <a:lstStyle/>
          <a:p>
            <a:r>
              <a:rPr lang="fr-FR" sz="1100" i="1" dirty="0">
                <a:latin typeface="Avenir Book" panose="02000503020000020003" pitchFamily="2" charset="0"/>
              </a:rPr>
              <a:t>1D Building products</a:t>
            </a:r>
          </a:p>
        </p:txBody>
      </p:sp>
      <p:sp>
        <p:nvSpPr>
          <p:cNvPr id="21" name="ZoneTexte 20">
            <a:extLst>
              <a:ext uri="{FF2B5EF4-FFF2-40B4-BE49-F238E27FC236}">
                <a16:creationId xmlns:a16="http://schemas.microsoft.com/office/drawing/2014/main" id="{AB745B43-B678-5DD4-F0AA-88DA45A7C0D0}"/>
              </a:ext>
            </a:extLst>
          </p:cNvPr>
          <p:cNvSpPr txBox="1"/>
          <p:nvPr/>
        </p:nvSpPr>
        <p:spPr>
          <a:xfrm>
            <a:off x="6751395" y="5284754"/>
            <a:ext cx="2206979" cy="261610"/>
          </a:xfrm>
          <a:prstGeom prst="rect">
            <a:avLst/>
          </a:prstGeom>
          <a:noFill/>
        </p:spPr>
        <p:txBody>
          <a:bodyPr wrap="square" rtlCol="0">
            <a:spAutoFit/>
          </a:bodyPr>
          <a:lstStyle/>
          <a:p>
            <a:r>
              <a:rPr lang="en-US" sz="1100" i="1" dirty="0">
                <a:latin typeface="Avenir Book" panose="02000503020000020003" pitchFamily="2" charset="0"/>
              </a:rPr>
              <a:t>2D Walls and assemblies</a:t>
            </a:r>
            <a:endParaRPr lang="fr-FR" sz="1100" i="1" dirty="0">
              <a:latin typeface="Avenir Book" panose="02000503020000020003" pitchFamily="2" charset="0"/>
            </a:endParaRPr>
          </a:p>
        </p:txBody>
      </p:sp>
      <p:sp>
        <p:nvSpPr>
          <p:cNvPr id="22" name="ZoneTexte 21">
            <a:extLst>
              <a:ext uri="{FF2B5EF4-FFF2-40B4-BE49-F238E27FC236}">
                <a16:creationId xmlns:a16="http://schemas.microsoft.com/office/drawing/2014/main" id="{DE70B4DB-4DFB-6873-D9FF-52E8ABDF3A57}"/>
              </a:ext>
            </a:extLst>
          </p:cNvPr>
          <p:cNvSpPr txBox="1"/>
          <p:nvPr/>
        </p:nvSpPr>
        <p:spPr>
          <a:xfrm>
            <a:off x="6751395" y="5589179"/>
            <a:ext cx="1697095" cy="261610"/>
          </a:xfrm>
          <a:prstGeom prst="rect">
            <a:avLst/>
          </a:prstGeom>
          <a:noFill/>
        </p:spPr>
        <p:txBody>
          <a:bodyPr wrap="square" rtlCol="0">
            <a:spAutoFit/>
          </a:bodyPr>
          <a:lstStyle/>
          <a:p>
            <a:r>
              <a:rPr lang="fr-FR" sz="1100" i="1" dirty="0">
                <a:latin typeface="Avenir Book" panose="02000503020000020003" pitchFamily="2" charset="0"/>
              </a:rPr>
              <a:t>3D Modular</a:t>
            </a:r>
          </a:p>
        </p:txBody>
      </p:sp>
      <p:sp>
        <p:nvSpPr>
          <p:cNvPr id="23" name="ZoneTexte 22">
            <a:extLst>
              <a:ext uri="{FF2B5EF4-FFF2-40B4-BE49-F238E27FC236}">
                <a16:creationId xmlns:a16="http://schemas.microsoft.com/office/drawing/2014/main" id="{D479F20B-AF6A-817C-269D-3ACDC1C5D1D5}"/>
              </a:ext>
            </a:extLst>
          </p:cNvPr>
          <p:cNvSpPr txBox="1"/>
          <p:nvPr/>
        </p:nvSpPr>
        <p:spPr>
          <a:xfrm>
            <a:off x="6751395" y="5884197"/>
            <a:ext cx="2207486" cy="261610"/>
          </a:xfrm>
          <a:prstGeom prst="rect">
            <a:avLst/>
          </a:prstGeom>
          <a:noFill/>
        </p:spPr>
        <p:txBody>
          <a:bodyPr wrap="square" rtlCol="0">
            <a:spAutoFit/>
          </a:bodyPr>
          <a:lstStyle/>
          <a:p>
            <a:r>
              <a:rPr lang="fr-FR" sz="1100" i="1" dirty="0">
                <a:latin typeface="Avenir Book" panose="02000503020000020003" pitchFamily="2" charset="0"/>
              </a:rPr>
              <a:t>Preassembled MEP (industrial) </a:t>
            </a:r>
          </a:p>
        </p:txBody>
      </p:sp>
      <p:sp>
        <p:nvSpPr>
          <p:cNvPr id="25" name="ZoneTexte 24">
            <a:extLst>
              <a:ext uri="{FF2B5EF4-FFF2-40B4-BE49-F238E27FC236}">
                <a16:creationId xmlns:a16="http://schemas.microsoft.com/office/drawing/2014/main" id="{ADEBD3DE-2F47-50AC-DEFE-29292E3877B4}"/>
              </a:ext>
            </a:extLst>
          </p:cNvPr>
          <p:cNvSpPr txBox="1"/>
          <p:nvPr/>
        </p:nvSpPr>
        <p:spPr>
          <a:xfrm>
            <a:off x="6751395" y="6179215"/>
            <a:ext cx="1727202" cy="261610"/>
          </a:xfrm>
          <a:prstGeom prst="rect">
            <a:avLst/>
          </a:prstGeom>
          <a:noFill/>
        </p:spPr>
        <p:txBody>
          <a:bodyPr wrap="square" rtlCol="0">
            <a:spAutoFit/>
          </a:bodyPr>
          <a:lstStyle/>
          <a:p>
            <a:r>
              <a:rPr lang="fr-FR" sz="1100" i="1" dirty="0">
                <a:latin typeface="Avenir Book" panose="02000503020000020003" pitchFamily="2" charset="0"/>
              </a:rPr>
              <a:t>3D PODs</a:t>
            </a:r>
          </a:p>
        </p:txBody>
      </p:sp>
      <p:sp>
        <p:nvSpPr>
          <p:cNvPr id="26" name="ZoneTexte 25">
            <a:extLst>
              <a:ext uri="{FF2B5EF4-FFF2-40B4-BE49-F238E27FC236}">
                <a16:creationId xmlns:a16="http://schemas.microsoft.com/office/drawing/2014/main" id="{CAB0FBD3-572E-15D6-CA2A-8AF7AA4676B0}"/>
              </a:ext>
            </a:extLst>
          </p:cNvPr>
          <p:cNvSpPr txBox="1"/>
          <p:nvPr/>
        </p:nvSpPr>
        <p:spPr>
          <a:xfrm>
            <a:off x="9920861" y="4891925"/>
            <a:ext cx="1727202" cy="261610"/>
          </a:xfrm>
          <a:prstGeom prst="rect">
            <a:avLst/>
          </a:prstGeom>
          <a:noFill/>
        </p:spPr>
        <p:txBody>
          <a:bodyPr wrap="square" rtlCol="0">
            <a:spAutoFit/>
          </a:bodyPr>
          <a:lstStyle/>
          <a:p>
            <a:r>
              <a:rPr lang="fr-FR" sz="1100" i="1" dirty="0">
                <a:latin typeface="Avenir Book" panose="02000503020000020003" pitchFamily="2" charset="0"/>
              </a:rPr>
              <a:t>General Contractors</a:t>
            </a:r>
          </a:p>
        </p:txBody>
      </p:sp>
      <p:sp>
        <p:nvSpPr>
          <p:cNvPr id="27" name="ZoneTexte 26">
            <a:extLst>
              <a:ext uri="{FF2B5EF4-FFF2-40B4-BE49-F238E27FC236}">
                <a16:creationId xmlns:a16="http://schemas.microsoft.com/office/drawing/2014/main" id="{57378392-ED82-0D39-8991-8D81E197D333}"/>
              </a:ext>
            </a:extLst>
          </p:cNvPr>
          <p:cNvSpPr txBox="1"/>
          <p:nvPr/>
        </p:nvSpPr>
        <p:spPr>
          <a:xfrm>
            <a:off x="9920861" y="5178591"/>
            <a:ext cx="1727202" cy="261610"/>
          </a:xfrm>
          <a:prstGeom prst="rect">
            <a:avLst/>
          </a:prstGeom>
          <a:noFill/>
        </p:spPr>
        <p:txBody>
          <a:bodyPr wrap="square" rtlCol="0">
            <a:spAutoFit/>
          </a:bodyPr>
          <a:lstStyle/>
          <a:p>
            <a:r>
              <a:rPr lang="en-US" sz="1100" i="1" dirty="0">
                <a:latin typeface="Avenir Book" panose="02000503020000020003" pitchFamily="2" charset="0"/>
              </a:rPr>
              <a:t>2D Installers</a:t>
            </a:r>
            <a:endParaRPr lang="fr-FR" sz="1100" i="1" dirty="0">
              <a:latin typeface="Avenir Book" panose="02000503020000020003" pitchFamily="2" charset="0"/>
            </a:endParaRPr>
          </a:p>
        </p:txBody>
      </p:sp>
      <p:sp>
        <p:nvSpPr>
          <p:cNvPr id="28" name="ZoneTexte 27">
            <a:extLst>
              <a:ext uri="{FF2B5EF4-FFF2-40B4-BE49-F238E27FC236}">
                <a16:creationId xmlns:a16="http://schemas.microsoft.com/office/drawing/2014/main" id="{CC8E59FD-A21E-3EDB-F5A7-50281E9107FA}"/>
              </a:ext>
            </a:extLst>
          </p:cNvPr>
          <p:cNvSpPr txBox="1"/>
          <p:nvPr/>
        </p:nvSpPr>
        <p:spPr>
          <a:xfrm>
            <a:off x="9920861" y="5505785"/>
            <a:ext cx="1727202" cy="261610"/>
          </a:xfrm>
          <a:prstGeom prst="rect">
            <a:avLst/>
          </a:prstGeom>
          <a:noFill/>
        </p:spPr>
        <p:txBody>
          <a:bodyPr wrap="square" rtlCol="0">
            <a:spAutoFit/>
          </a:bodyPr>
          <a:lstStyle/>
          <a:p>
            <a:r>
              <a:rPr lang="fr-FR" sz="1100" i="1" dirty="0">
                <a:latin typeface="Avenir Book" panose="02000503020000020003" pitchFamily="2" charset="0"/>
              </a:rPr>
              <a:t>3D Installers</a:t>
            </a:r>
          </a:p>
        </p:txBody>
      </p:sp>
      <p:sp>
        <p:nvSpPr>
          <p:cNvPr id="29" name="ZoneTexte 28">
            <a:extLst>
              <a:ext uri="{FF2B5EF4-FFF2-40B4-BE49-F238E27FC236}">
                <a16:creationId xmlns:a16="http://schemas.microsoft.com/office/drawing/2014/main" id="{9D7A3243-74B0-44F4-0418-D2B291BEEC63}"/>
              </a:ext>
            </a:extLst>
          </p:cNvPr>
          <p:cNvSpPr txBox="1"/>
          <p:nvPr/>
        </p:nvSpPr>
        <p:spPr>
          <a:xfrm>
            <a:off x="9920861" y="5792452"/>
            <a:ext cx="1727202" cy="261610"/>
          </a:xfrm>
          <a:prstGeom prst="rect">
            <a:avLst/>
          </a:prstGeom>
          <a:noFill/>
        </p:spPr>
        <p:txBody>
          <a:bodyPr wrap="square" rtlCol="0">
            <a:spAutoFit/>
          </a:bodyPr>
          <a:lstStyle/>
          <a:p>
            <a:r>
              <a:rPr lang="fr-FR" sz="1100" i="1" dirty="0">
                <a:latin typeface="Avenir Book" panose="02000503020000020003" pitchFamily="2" charset="0"/>
              </a:rPr>
              <a:t>Maintainers</a:t>
            </a:r>
          </a:p>
        </p:txBody>
      </p:sp>
      <p:cxnSp>
        <p:nvCxnSpPr>
          <p:cNvPr id="30" name="Connecteur : en angle 29">
            <a:extLst>
              <a:ext uri="{FF2B5EF4-FFF2-40B4-BE49-F238E27FC236}">
                <a16:creationId xmlns:a16="http://schemas.microsoft.com/office/drawing/2014/main" id="{5A379ABE-F2E3-ECB1-20A6-E8F2E566FB44}"/>
              </a:ext>
            </a:extLst>
          </p:cNvPr>
          <p:cNvCxnSpPr>
            <a:cxnSpLocks/>
            <a:stCxn id="13" idx="2"/>
            <a:endCxn id="17" idx="1"/>
          </p:cNvCxnSpPr>
          <p:nvPr/>
        </p:nvCxnSpPr>
        <p:spPr>
          <a:xfrm rot="16200000" flipH="1">
            <a:off x="680912" y="3621671"/>
            <a:ext cx="766872" cy="14928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 en angle 30">
            <a:extLst>
              <a:ext uri="{FF2B5EF4-FFF2-40B4-BE49-F238E27FC236}">
                <a16:creationId xmlns:a16="http://schemas.microsoft.com/office/drawing/2014/main" id="{456D5851-1D8F-C9CD-EED3-C4592915B917}"/>
              </a:ext>
            </a:extLst>
          </p:cNvPr>
          <p:cNvCxnSpPr>
            <a:cxnSpLocks/>
            <a:stCxn id="13" idx="2"/>
            <a:endCxn id="16" idx="1"/>
          </p:cNvCxnSpPr>
          <p:nvPr/>
        </p:nvCxnSpPr>
        <p:spPr>
          <a:xfrm rot="16200000" flipH="1">
            <a:off x="828421" y="3474162"/>
            <a:ext cx="471854" cy="14928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 en angle 31">
            <a:extLst>
              <a:ext uri="{FF2B5EF4-FFF2-40B4-BE49-F238E27FC236}">
                <a16:creationId xmlns:a16="http://schemas.microsoft.com/office/drawing/2014/main" id="{B91ECF04-7C15-DE6E-6E5F-05DA14AD3A00}"/>
              </a:ext>
            </a:extLst>
          </p:cNvPr>
          <p:cNvCxnSpPr>
            <a:cxnSpLocks/>
            <a:stCxn id="14" idx="2"/>
            <a:endCxn id="25" idx="1"/>
          </p:cNvCxnSpPr>
          <p:nvPr/>
        </p:nvCxnSpPr>
        <p:spPr>
          <a:xfrm rot="16200000" flipH="1">
            <a:off x="5908621" y="5467246"/>
            <a:ext cx="1492912" cy="192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 en angle 32">
            <a:extLst>
              <a:ext uri="{FF2B5EF4-FFF2-40B4-BE49-F238E27FC236}">
                <a16:creationId xmlns:a16="http://schemas.microsoft.com/office/drawing/2014/main" id="{30E40F80-C7CF-FA32-B7A3-3A7927E04F3E}"/>
              </a:ext>
            </a:extLst>
          </p:cNvPr>
          <p:cNvCxnSpPr>
            <a:cxnSpLocks/>
            <a:stCxn id="14" idx="2"/>
            <a:endCxn id="23" idx="1"/>
          </p:cNvCxnSpPr>
          <p:nvPr/>
        </p:nvCxnSpPr>
        <p:spPr>
          <a:xfrm rot="16200000" flipH="1">
            <a:off x="6056130" y="5319737"/>
            <a:ext cx="1197894" cy="192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 en angle 33">
            <a:extLst>
              <a:ext uri="{FF2B5EF4-FFF2-40B4-BE49-F238E27FC236}">
                <a16:creationId xmlns:a16="http://schemas.microsoft.com/office/drawing/2014/main" id="{31298AE1-522D-2400-6E6C-03B283DF9C15}"/>
              </a:ext>
            </a:extLst>
          </p:cNvPr>
          <p:cNvCxnSpPr>
            <a:cxnSpLocks/>
            <a:stCxn id="14" idx="2"/>
            <a:endCxn id="22" idx="1"/>
          </p:cNvCxnSpPr>
          <p:nvPr/>
        </p:nvCxnSpPr>
        <p:spPr>
          <a:xfrm rot="16200000" flipH="1">
            <a:off x="6203639" y="5172228"/>
            <a:ext cx="902876" cy="192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 en angle 34">
            <a:extLst>
              <a:ext uri="{FF2B5EF4-FFF2-40B4-BE49-F238E27FC236}">
                <a16:creationId xmlns:a16="http://schemas.microsoft.com/office/drawing/2014/main" id="{B51A67AF-7B10-8EF6-DEC8-1C4B99214282}"/>
              </a:ext>
            </a:extLst>
          </p:cNvPr>
          <p:cNvCxnSpPr>
            <a:cxnSpLocks/>
            <a:stCxn id="14" idx="2"/>
            <a:endCxn id="21" idx="1"/>
          </p:cNvCxnSpPr>
          <p:nvPr/>
        </p:nvCxnSpPr>
        <p:spPr>
          <a:xfrm rot="16200000" flipH="1">
            <a:off x="6355852" y="5020015"/>
            <a:ext cx="598451" cy="192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 en angle 35">
            <a:extLst>
              <a:ext uri="{FF2B5EF4-FFF2-40B4-BE49-F238E27FC236}">
                <a16:creationId xmlns:a16="http://schemas.microsoft.com/office/drawing/2014/main" id="{7D9F3EFA-B88C-88F9-F5C6-EF2D5DB13BB6}"/>
              </a:ext>
            </a:extLst>
          </p:cNvPr>
          <p:cNvCxnSpPr>
            <a:cxnSpLocks/>
            <a:stCxn id="14" idx="2"/>
            <a:endCxn id="19" idx="1"/>
          </p:cNvCxnSpPr>
          <p:nvPr/>
        </p:nvCxnSpPr>
        <p:spPr>
          <a:xfrm rot="16200000" flipH="1">
            <a:off x="6498657" y="4877210"/>
            <a:ext cx="312840" cy="192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7B167B6A-77C7-A368-F4C8-A6997490756E}"/>
              </a:ext>
            </a:extLst>
          </p:cNvPr>
          <p:cNvCxnSpPr>
            <a:cxnSpLocks/>
            <a:stCxn id="15" idx="2"/>
            <a:endCxn id="29" idx="1"/>
          </p:cNvCxnSpPr>
          <p:nvPr/>
        </p:nvCxnSpPr>
        <p:spPr>
          <a:xfrm rot="16200000" flipH="1">
            <a:off x="9142616" y="5145011"/>
            <a:ext cx="1112075" cy="4444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 en angle 37">
            <a:extLst>
              <a:ext uri="{FF2B5EF4-FFF2-40B4-BE49-F238E27FC236}">
                <a16:creationId xmlns:a16="http://schemas.microsoft.com/office/drawing/2014/main" id="{3D67155A-8D3C-D360-9920-99C2F4158045}"/>
              </a:ext>
            </a:extLst>
          </p:cNvPr>
          <p:cNvCxnSpPr>
            <a:cxnSpLocks/>
            <a:stCxn id="15" idx="2"/>
            <a:endCxn id="28" idx="1"/>
          </p:cNvCxnSpPr>
          <p:nvPr/>
        </p:nvCxnSpPr>
        <p:spPr>
          <a:xfrm rot="16200000" flipH="1">
            <a:off x="9285949" y="5001678"/>
            <a:ext cx="825408" cy="4444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eur : en angle 38">
            <a:extLst>
              <a:ext uri="{FF2B5EF4-FFF2-40B4-BE49-F238E27FC236}">
                <a16:creationId xmlns:a16="http://schemas.microsoft.com/office/drawing/2014/main" id="{3B6F35DC-FE1F-0D9F-F7FC-EEB5E8A956F7}"/>
              </a:ext>
            </a:extLst>
          </p:cNvPr>
          <p:cNvCxnSpPr>
            <a:cxnSpLocks/>
            <a:stCxn id="15" idx="2"/>
            <a:endCxn id="27" idx="1"/>
          </p:cNvCxnSpPr>
          <p:nvPr/>
        </p:nvCxnSpPr>
        <p:spPr>
          <a:xfrm rot="16200000" flipH="1">
            <a:off x="9449546" y="4838081"/>
            <a:ext cx="498214" cy="4444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41E5542C-4C19-FF0F-C65E-395E0E536DEA}"/>
              </a:ext>
            </a:extLst>
          </p:cNvPr>
          <p:cNvCxnSpPr>
            <a:cxnSpLocks/>
            <a:stCxn id="15" idx="2"/>
            <a:endCxn id="26" idx="1"/>
          </p:cNvCxnSpPr>
          <p:nvPr/>
        </p:nvCxnSpPr>
        <p:spPr>
          <a:xfrm rot="16200000" flipH="1">
            <a:off x="9592879" y="4694748"/>
            <a:ext cx="211548" cy="4444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 en angle 40">
            <a:extLst>
              <a:ext uri="{FF2B5EF4-FFF2-40B4-BE49-F238E27FC236}">
                <a16:creationId xmlns:a16="http://schemas.microsoft.com/office/drawing/2014/main" id="{A3AECC7D-5521-9779-4BE3-3C7A5164ABAB}"/>
              </a:ext>
            </a:extLst>
          </p:cNvPr>
          <p:cNvCxnSpPr>
            <a:cxnSpLocks/>
            <a:stCxn id="8" idx="2"/>
            <a:endCxn id="11" idx="3"/>
          </p:cNvCxnSpPr>
          <p:nvPr/>
        </p:nvCxnSpPr>
        <p:spPr>
          <a:xfrm rot="5400000">
            <a:off x="11017768" y="2771991"/>
            <a:ext cx="800332" cy="19704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12398D72-73C7-01F6-BC0B-9A1CADE07022}"/>
              </a:ext>
            </a:extLst>
          </p:cNvPr>
          <p:cNvCxnSpPr>
            <a:cxnSpLocks/>
            <a:stCxn id="8" idx="2"/>
            <a:endCxn id="10" idx="3"/>
          </p:cNvCxnSpPr>
          <p:nvPr/>
        </p:nvCxnSpPr>
        <p:spPr>
          <a:xfrm rot="5400000">
            <a:off x="11169008" y="2620751"/>
            <a:ext cx="497852" cy="19704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 en angle 42">
            <a:extLst>
              <a:ext uri="{FF2B5EF4-FFF2-40B4-BE49-F238E27FC236}">
                <a16:creationId xmlns:a16="http://schemas.microsoft.com/office/drawing/2014/main" id="{17E1B8FC-C8EF-8C18-70D2-761007D0D4E6}"/>
              </a:ext>
            </a:extLst>
          </p:cNvPr>
          <p:cNvCxnSpPr>
            <a:cxnSpLocks/>
            <a:stCxn id="8" idx="2"/>
            <a:endCxn id="9" idx="3"/>
          </p:cNvCxnSpPr>
          <p:nvPr/>
        </p:nvCxnSpPr>
        <p:spPr>
          <a:xfrm rot="5400000">
            <a:off x="11316517" y="2473242"/>
            <a:ext cx="202834" cy="19704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eur : en angle 43">
            <a:extLst>
              <a:ext uri="{FF2B5EF4-FFF2-40B4-BE49-F238E27FC236}">
                <a16:creationId xmlns:a16="http://schemas.microsoft.com/office/drawing/2014/main" id="{04FFC654-9F58-0420-C2CB-7624E1F57CF8}"/>
              </a:ext>
            </a:extLst>
          </p:cNvPr>
          <p:cNvCxnSpPr>
            <a:cxnSpLocks/>
            <a:stCxn id="5" idx="2"/>
            <a:endCxn id="6" idx="0"/>
          </p:cNvCxnSpPr>
          <p:nvPr/>
        </p:nvCxnSpPr>
        <p:spPr>
          <a:xfrm rot="5400000">
            <a:off x="3232949" y="-1069645"/>
            <a:ext cx="704634" cy="5021469"/>
          </a:xfrm>
          <a:prstGeom prst="bentConnector3">
            <a:avLst>
              <a:gd name="adj1" fmla="val 6914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eur : en angle 44">
            <a:extLst>
              <a:ext uri="{FF2B5EF4-FFF2-40B4-BE49-F238E27FC236}">
                <a16:creationId xmlns:a16="http://schemas.microsoft.com/office/drawing/2014/main" id="{786B2430-88DA-2A9E-0897-D013BA801A1F}"/>
              </a:ext>
            </a:extLst>
          </p:cNvPr>
          <p:cNvCxnSpPr>
            <a:cxnSpLocks/>
            <a:stCxn id="5" idx="2"/>
            <a:endCxn id="8" idx="0"/>
          </p:cNvCxnSpPr>
          <p:nvPr/>
        </p:nvCxnSpPr>
        <p:spPr>
          <a:xfrm rot="16200000" flipH="1">
            <a:off x="8330884" y="-1146113"/>
            <a:ext cx="950689" cy="5420457"/>
          </a:xfrm>
          <a:prstGeom prst="bentConnector3">
            <a:avLst>
              <a:gd name="adj1" fmla="val 5133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ngle 45">
            <a:extLst>
              <a:ext uri="{FF2B5EF4-FFF2-40B4-BE49-F238E27FC236}">
                <a16:creationId xmlns:a16="http://schemas.microsoft.com/office/drawing/2014/main" id="{6A22F73D-951E-1E89-91D4-F2A5D38D3FCE}"/>
              </a:ext>
            </a:extLst>
          </p:cNvPr>
          <p:cNvCxnSpPr>
            <a:cxnSpLocks/>
            <a:stCxn id="5" idx="2"/>
            <a:endCxn id="7" idx="0"/>
          </p:cNvCxnSpPr>
          <p:nvPr/>
        </p:nvCxnSpPr>
        <p:spPr>
          <a:xfrm rot="16200000" flipH="1">
            <a:off x="5604042" y="1580729"/>
            <a:ext cx="995544" cy="1162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 en angle 46">
            <a:extLst>
              <a:ext uri="{FF2B5EF4-FFF2-40B4-BE49-F238E27FC236}">
                <a16:creationId xmlns:a16="http://schemas.microsoft.com/office/drawing/2014/main" id="{C7E47D72-18A1-C51E-D57E-AB0F762868C3}"/>
              </a:ext>
            </a:extLst>
          </p:cNvPr>
          <p:cNvCxnSpPr>
            <a:cxnSpLocks/>
            <a:stCxn id="7" idx="2"/>
            <a:endCxn id="13" idx="0"/>
          </p:cNvCxnSpPr>
          <p:nvPr/>
        </p:nvCxnSpPr>
        <p:spPr>
          <a:xfrm rot="5400000">
            <a:off x="3195996" y="139635"/>
            <a:ext cx="705343" cy="511792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eur : en angle 47">
            <a:extLst>
              <a:ext uri="{FF2B5EF4-FFF2-40B4-BE49-F238E27FC236}">
                <a16:creationId xmlns:a16="http://schemas.microsoft.com/office/drawing/2014/main" id="{54B07BD1-8923-4BE5-DEB4-A80EC3F032C3}"/>
              </a:ext>
            </a:extLst>
          </p:cNvPr>
          <p:cNvCxnSpPr>
            <a:cxnSpLocks/>
            <a:stCxn id="7" idx="2"/>
            <a:endCxn id="14" idx="0"/>
          </p:cNvCxnSpPr>
          <p:nvPr/>
        </p:nvCxnSpPr>
        <p:spPr>
          <a:xfrm rot="16200000" flipH="1">
            <a:off x="5228408" y="3225146"/>
            <a:ext cx="2209572" cy="451131"/>
          </a:xfrm>
          <a:prstGeom prst="bentConnector3">
            <a:avLst>
              <a:gd name="adj1" fmla="val 1602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eur : en angle 48">
            <a:extLst>
              <a:ext uri="{FF2B5EF4-FFF2-40B4-BE49-F238E27FC236}">
                <a16:creationId xmlns:a16="http://schemas.microsoft.com/office/drawing/2014/main" id="{C11B12C3-FC8E-22D0-F9E8-AD0DFCDABFAF}"/>
              </a:ext>
            </a:extLst>
          </p:cNvPr>
          <p:cNvCxnSpPr>
            <a:cxnSpLocks/>
            <a:stCxn id="7" idx="2"/>
            <a:endCxn id="15" idx="0"/>
          </p:cNvCxnSpPr>
          <p:nvPr/>
        </p:nvCxnSpPr>
        <p:spPr>
          <a:xfrm rot="16200000" flipH="1">
            <a:off x="6690214" y="1763341"/>
            <a:ext cx="2203646" cy="3368816"/>
          </a:xfrm>
          <a:prstGeom prst="bentConnector3">
            <a:avLst>
              <a:gd name="adj1" fmla="val 163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0" name="Picture 4">
            <a:extLst>
              <a:ext uri="{FF2B5EF4-FFF2-40B4-BE49-F238E27FC236}">
                <a16:creationId xmlns:a16="http://schemas.microsoft.com/office/drawing/2014/main" id="{57E9FD47-BF7E-6397-4E25-DF0B7E5CD78E}"/>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9984765" y="494900"/>
            <a:ext cx="787281" cy="525904"/>
          </a:xfrm>
          <a:prstGeom prst="rect">
            <a:avLst/>
          </a:prstGeom>
          <a:noFill/>
          <a:extLst>
            <a:ext uri="{909E8E84-426E-40DD-AFC4-6F175D3DCCD1}">
              <a14:hiddenFill xmlns:a14="http://schemas.microsoft.com/office/drawing/2010/main">
                <a:solidFill>
                  <a:srgbClr val="FFFFFF"/>
                </a:solidFill>
              </a14:hiddenFill>
            </a:ext>
          </a:extLst>
        </p:spPr>
      </p:pic>
      <p:sp>
        <p:nvSpPr>
          <p:cNvPr id="51" name="ZoneTexte 50">
            <a:extLst>
              <a:ext uri="{FF2B5EF4-FFF2-40B4-BE49-F238E27FC236}">
                <a16:creationId xmlns:a16="http://schemas.microsoft.com/office/drawing/2014/main" id="{A35FE319-4FE4-CB55-9F43-5F0D6E3BBA80}"/>
              </a:ext>
            </a:extLst>
          </p:cNvPr>
          <p:cNvSpPr txBox="1"/>
          <p:nvPr/>
        </p:nvSpPr>
        <p:spPr>
          <a:xfrm>
            <a:off x="8176157" y="3056742"/>
            <a:ext cx="1163947" cy="261610"/>
          </a:xfrm>
          <a:prstGeom prst="rect">
            <a:avLst/>
          </a:prstGeom>
          <a:solidFill>
            <a:schemeClr val="accent5">
              <a:lumMod val="40000"/>
              <a:lumOff val="60000"/>
            </a:schemeClr>
          </a:solidFill>
          <a:ln>
            <a:solidFill>
              <a:schemeClr val="tx1"/>
            </a:solidFill>
          </a:ln>
        </p:spPr>
        <p:txBody>
          <a:bodyPr wrap="square" lIns="91440" tIns="45720" rIns="91440" bIns="45720" rtlCol="0" anchor="ctr">
            <a:spAutoFit/>
          </a:bodyPr>
          <a:lstStyle/>
          <a:p>
            <a:pPr algn="ctr"/>
            <a:r>
              <a:rPr lang="fr-FR" sz="1100" dirty="0">
                <a:latin typeface="Avenir Book" panose="02000503020000020003" pitchFamily="2" charset="0"/>
              </a:rPr>
              <a:t>PM / DO / AF *</a:t>
            </a:r>
          </a:p>
        </p:txBody>
      </p:sp>
      <p:cxnSp>
        <p:nvCxnSpPr>
          <p:cNvPr id="52" name="Connecteur : en angle 51">
            <a:extLst>
              <a:ext uri="{FF2B5EF4-FFF2-40B4-BE49-F238E27FC236}">
                <a16:creationId xmlns:a16="http://schemas.microsoft.com/office/drawing/2014/main" id="{00127D7A-C002-BB2D-5B51-4697C0E71CA1}"/>
              </a:ext>
            </a:extLst>
          </p:cNvPr>
          <p:cNvCxnSpPr>
            <a:cxnSpLocks/>
            <a:stCxn id="7" idx="2"/>
            <a:endCxn id="51" idx="0"/>
          </p:cNvCxnSpPr>
          <p:nvPr/>
        </p:nvCxnSpPr>
        <p:spPr>
          <a:xfrm rot="16200000" flipH="1">
            <a:off x="7077472" y="1376083"/>
            <a:ext cx="710816" cy="265050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ZoneTexte 52">
            <a:extLst>
              <a:ext uri="{FF2B5EF4-FFF2-40B4-BE49-F238E27FC236}">
                <a16:creationId xmlns:a16="http://schemas.microsoft.com/office/drawing/2014/main" id="{1135A951-6D95-3F4D-391F-725A7C2F81F5}"/>
              </a:ext>
            </a:extLst>
          </p:cNvPr>
          <p:cNvSpPr txBox="1"/>
          <p:nvPr/>
        </p:nvSpPr>
        <p:spPr>
          <a:xfrm>
            <a:off x="6778920" y="3949935"/>
            <a:ext cx="1727202" cy="261610"/>
          </a:xfrm>
          <a:prstGeom prst="rect">
            <a:avLst/>
          </a:prstGeom>
          <a:noFill/>
        </p:spPr>
        <p:txBody>
          <a:bodyPr wrap="square" lIns="91440" tIns="45720" rIns="91440" bIns="45720" rtlCol="0" anchor="t">
            <a:spAutoFit/>
          </a:bodyPr>
          <a:lstStyle/>
          <a:p>
            <a:pPr algn="r"/>
            <a:r>
              <a:rPr lang="fr-FR" sz="1100" i="1" dirty="0">
                <a:latin typeface="Avenir Book" panose="02000503020000020003" pitchFamily="2" charset="0"/>
              </a:rPr>
              <a:t>Project management</a:t>
            </a:r>
          </a:p>
        </p:txBody>
      </p:sp>
      <p:sp>
        <p:nvSpPr>
          <p:cNvPr id="54" name="ZoneTexte 53">
            <a:extLst>
              <a:ext uri="{FF2B5EF4-FFF2-40B4-BE49-F238E27FC236}">
                <a16:creationId xmlns:a16="http://schemas.microsoft.com/office/drawing/2014/main" id="{AD623052-6DAA-7918-27E0-2F92D39264D2}"/>
              </a:ext>
            </a:extLst>
          </p:cNvPr>
          <p:cNvSpPr txBox="1"/>
          <p:nvPr/>
        </p:nvSpPr>
        <p:spPr>
          <a:xfrm>
            <a:off x="6778920" y="4226304"/>
            <a:ext cx="1727202" cy="261610"/>
          </a:xfrm>
          <a:prstGeom prst="rect">
            <a:avLst/>
          </a:prstGeom>
          <a:noFill/>
        </p:spPr>
        <p:txBody>
          <a:bodyPr wrap="square" rtlCol="0">
            <a:spAutoFit/>
          </a:bodyPr>
          <a:lstStyle/>
          <a:p>
            <a:pPr algn="r"/>
            <a:r>
              <a:rPr lang="fr-FR" sz="1100" i="1" dirty="0">
                <a:latin typeface="Avenir Book" panose="02000503020000020003" pitchFamily="2" charset="0"/>
              </a:rPr>
              <a:t>Design office</a:t>
            </a:r>
          </a:p>
        </p:txBody>
      </p:sp>
      <p:cxnSp>
        <p:nvCxnSpPr>
          <p:cNvPr id="55" name="Connecteur : en angle 54">
            <a:extLst>
              <a:ext uri="{FF2B5EF4-FFF2-40B4-BE49-F238E27FC236}">
                <a16:creationId xmlns:a16="http://schemas.microsoft.com/office/drawing/2014/main" id="{B69CFCE1-8A4F-9C0A-0D76-B5CA2F57A52E}"/>
              </a:ext>
            </a:extLst>
          </p:cNvPr>
          <p:cNvCxnSpPr>
            <a:cxnSpLocks/>
            <a:stCxn id="51" idx="2"/>
            <a:endCxn id="54" idx="3"/>
          </p:cNvCxnSpPr>
          <p:nvPr/>
        </p:nvCxnSpPr>
        <p:spPr>
          <a:xfrm rot="5400000">
            <a:off x="8112749" y="3711726"/>
            <a:ext cx="1038757" cy="25200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eur : en angle 55">
            <a:extLst>
              <a:ext uri="{FF2B5EF4-FFF2-40B4-BE49-F238E27FC236}">
                <a16:creationId xmlns:a16="http://schemas.microsoft.com/office/drawing/2014/main" id="{02F2D257-58F9-AD2C-EA56-4D07965378A8}"/>
              </a:ext>
            </a:extLst>
          </p:cNvPr>
          <p:cNvCxnSpPr>
            <a:cxnSpLocks/>
            <a:stCxn id="51" idx="2"/>
            <a:endCxn id="53" idx="3"/>
          </p:cNvCxnSpPr>
          <p:nvPr/>
        </p:nvCxnSpPr>
        <p:spPr>
          <a:xfrm rot="5400000">
            <a:off x="8250933" y="3573542"/>
            <a:ext cx="762388" cy="25200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762A4463-2EB4-143E-0701-BB498948058B}"/>
              </a:ext>
            </a:extLst>
          </p:cNvPr>
          <p:cNvSpPr txBox="1"/>
          <p:nvPr/>
        </p:nvSpPr>
        <p:spPr>
          <a:xfrm>
            <a:off x="534277" y="6475313"/>
            <a:ext cx="561108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100" dirty="0">
                <a:latin typeface="Avenir Book" panose="02000503020000020003" pitchFamily="2" charset="0"/>
              </a:rPr>
              <a:t>(*) PM = Project Manager / DO = Design Office / AF = Architecture Firms</a:t>
            </a:r>
          </a:p>
        </p:txBody>
      </p:sp>
      <p:pic>
        <p:nvPicPr>
          <p:cNvPr id="58" name="Picture 8">
            <a:extLst>
              <a:ext uri="{FF2B5EF4-FFF2-40B4-BE49-F238E27FC236}">
                <a16:creationId xmlns:a16="http://schemas.microsoft.com/office/drawing/2014/main" id="{027BDD6C-DB19-72F3-7E2B-8BE6DF3EC094}"/>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958881" y="499040"/>
            <a:ext cx="872160" cy="52329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a:extLst>
              <a:ext uri="{FF2B5EF4-FFF2-40B4-BE49-F238E27FC236}">
                <a16:creationId xmlns:a16="http://schemas.microsoft.com/office/drawing/2014/main" id="{A376010A-A925-E068-46F1-A3E5EAE8A36B}"/>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045965" y="486484"/>
            <a:ext cx="787281" cy="52485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3D32B3E9-1C62-F369-7D35-6D9DB59CD7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25770" y="485433"/>
            <a:ext cx="787280" cy="524853"/>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Connecteur : en angle 60">
            <a:extLst>
              <a:ext uri="{FF2B5EF4-FFF2-40B4-BE49-F238E27FC236}">
                <a16:creationId xmlns:a16="http://schemas.microsoft.com/office/drawing/2014/main" id="{9B8D03A7-D905-D504-B3E3-140C3A59A001}"/>
              </a:ext>
            </a:extLst>
          </p:cNvPr>
          <p:cNvCxnSpPr>
            <a:cxnSpLocks/>
            <a:stCxn id="62" idx="2"/>
            <a:endCxn id="65" idx="3"/>
          </p:cNvCxnSpPr>
          <p:nvPr/>
        </p:nvCxnSpPr>
        <p:spPr>
          <a:xfrm rot="5400000">
            <a:off x="4901378" y="3746833"/>
            <a:ext cx="1077800" cy="23379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ZoneTexte 61">
            <a:extLst>
              <a:ext uri="{FF2B5EF4-FFF2-40B4-BE49-F238E27FC236}">
                <a16:creationId xmlns:a16="http://schemas.microsoft.com/office/drawing/2014/main" id="{BFBF84B4-17DE-01FD-6996-CFD36B04A2FE}"/>
              </a:ext>
            </a:extLst>
          </p:cNvPr>
          <p:cNvSpPr txBox="1"/>
          <p:nvPr/>
        </p:nvSpPr>
        <p:spPr>
          <a:xfrm>
            <a:off x="5125173" y="3063218"/>
            <a:ext cx="864000" cy="261610"/>
          </a:xfrm>
          <a:prstGeom prst="rect">
            <a:avLst/>
          </a:prstGeom>
          <a:solidFill>
            <a:schemeClr val="accent5">
              <a:lumMod val="40000"/>
              <a:lumOff val="60000"/>
            </a:schemeClr>
          </a:solidFill>
          <a:ln>
            <a:solidFill>
              <a:schemeClr val="tx1"/>
            </a:solidFill>
          </a:ln>
        </p:spPr>
        <p:txBody>
          <a:bodyPr wrap="square" rtlCol="0">
            <a:spAutoFit/>
          </a:bodyPr>
          <a:lstStyle/>
          <a:p>
            <a:pPr algn="ctr"/>
            <a:r>
              <a:rPr lang="fr-FR" sz="1100" dirty="0">
                <a:latin typeface="Avenir Book" panose="02000503020000020003" pitchFamily="2" charset="0"/>
              </a:rPr>
              <a:t>Suppliers</a:t>
            </a:r>
          </a:p>
        </p:txBody>
      </p:sp>
      <p:sp>
        <p:nvSpPr>
          <p:cNvPr id="63" name="ZoneTexte 62">
            <a:extLst>
              <a:ext uri="{FF2B5EF4-FFF2-40B4-BE49-F238E27FC236}">
                <a16:creationId xmlns:a16="http://schemas.microsoft.com/office/drawing/2014/main" id="{82627431-B23F-EB62-396B-DF7DA644D57E}"/>
              </a:ext>
            </a:extLst>
          </p:cNvPr>
          <p:cNvSpPr txBox="1"/>
          <p:nvPr/>
        </p:nvSpPr>
        <p:spPr>
          <a:xfrm>
            <a:off x="3596181" y="3681787"/>
            <a:ext cx="1727202" cy="261610"/>
          </a:xfrm>
          <a:prstGeom prst="rect">
            <a:avLst/>
          </a:prstGeom>
          <a:noFill/>
        </p:spPr>
        <p:txBody>
          <a:bodyPr wrap="square" rtlCol="0">
            <a:spAutoFit/>
          </a:bodyPr>
          <a:lstStyle/>
          <a:p>
            <a:pPr algn="r"/>
            <a:r>
              <a:rPr lang="fr-FR" sz="1100" i="1" dirty="0">
                <a:latin typeface="Avenir Book" panose="02000503020000020003" pitchFamily="2" charset="0"/>
              </a:rPr>
              <a:t>MEP systems products </a:t>
            </a:r>
          </a:p>
        </p:txBody>
      </p:sp>
      <p:sp>
        <p:nvSpPr>
          <p:cNvPr id="64" name="ZoneTexte 63">
            <a:extLst>
              <a:ext uri="{FF2B5EF4-FFF2-40B4-BE49-F238E27FC236}">
                <a16:creationId xmlns:a16="http://schemas.microsoft.com/office/drawing/2014/main" id="{07B139F8-686F-853A-5B76-C85B58AA9CC8}"/>
              </a:ext>
            </a:extLst>
          </p:cNvPr>
          <p:cNvSpPr txBox="1"/>
          <p:nvPr/>
        </p:nvSpPr>
        <p:spPr>
          <a:xfrm>
            <a:off x="3596181" y="3976805"/>
            <a:ext cx="1727202" cy="261610"/>
          </a:xfrm>
          <a:prstGeom prst="rect">
            <a:avLst/>
          </a:prstGeom>
          <a:noFill/>
        </p:spPr>
        <p:txBody>
          <a:bodyPr wrap="square" rtlCol="0">
            <a:spAutoFit/>
          </a:bodyPr>
          <a:lstStyle/>
          <a:p>
            <a:pPr algn="r"/>
            <a:r>
              <a:rPr lang="fr-FR" sz="1100" i="1" dirty="0">
                <a:latin typeface="Avenir Book" panose="02000503020000020003" pitchFamily="2" charset="0"/>
              </a:rPr>
              <a:t>Finishing products</a:t>
            </a:r>
          </a:p>
        </p:txBody>
      </p:sp>
      <p:sp>
        <p:nvSpPr>
          <p:cNvPr id="65" name="ZoneTexte 64">
            <a:extLst>
              <a:ext uri="{FF2B5EF4-FFF2-40B4-BE49-F238E27FC236}">
                <a16:creationId xmlns:a16="http://schemas.microsoft.com/office/drawing/2014/main" id="{BC151443-3AC9-C88D-FA15-B82E66AD726F}"/>
              </a:ext>
            </a:extLst>
          </p:cNvPr>
          <p:cNvSpPr txBox="1"/>
          <p:nvPr/>
        </p:nvSpPr>
        <p:spPr>
          <a:xfrm>
            <a:off x="3346799" y="4271823"/>
            <a:ext cx="1976584" cy="261610"/>
          </a:xfrm>
          <a:prstGeom prst="rect">
            <a:avLst/>
          </a:prstGeom>
          <a:noFill/>
        </p:spPr>
        <p:txBody>
          <a:bodyPr wrap="square" lIns="91440" tIns="45720" rIns="91440" bIns="45720" rtlCol="0" anchor="t">
            <a:spAutoFit/>
          </a:bodyPr>
          <a:lstStyle/>
          <a:p>
            <a:pPr algn="r"/>
            <a:r>
              <a:rPr lang="fr-FR" sz="1100" i="1" dirty="0">
                <a:latin typeface="Avenir Book" panose="02000503020000020003" pitchFamily="2" charset="0"/>
                <a:ea typeface="+mn-lt"/>
                <a:cs typeface="+mn-lt"/>
              </a:rPr>
              <a:t>Building envelop products</a:t>
            </a:r>
            <a:endParaRPr lang="fr-FR" sz="1100" dirty="0">
              <a:latin typeface="Avenir Book" panose="02000503020000020003" pitchFamily="2" charset="0"/>
              <a:ea typeface="+mn-lt"/>
              <a:cs typeface="+mn-lt"/>
            </a:endParaRPr>
          </a:p>
        </p:txBody>
      </p:sp>
      <p:cxnSp>
        <p:nvCxnSpPr>
          <p:cNvPr id="66" name="Connecteur : en angle 65">
            <a:extLst>
              <a:ext uri="{FF2B5EF4-FFF2-40B4-BE49-F238E27FC236}">
                <a16:creationId xmlns:a16="http://schemas.microsoft.com/office/drawing/2014/main" id="{1147F1E7-59EA-EFA7-2322-4170E18A21A1}"/>
              </a:ext>
            </a:extLst>
          </p:cNvPr>
          <p:cNvCxnSpPr>
            <a:cxnSpLocks/>
            <a:stCxn id="62" idx="2"/>
            <a:endCxn id="64" idx="3"/>
          </p:cNvCxnSpPr>
          <p:nvPr/>
        </p:nvCxnSpPr>
        <p:spPr>
          <a:xfrm rot="5400000">
            <a:off x="5048887" y="3599324"/>
            <a:ext cx="782782" cy="23379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eur : en angle 66">
            <a:extLst>
              <a:ext uri="{FF2B5EF4-FFF2-40B4-BE49-F238E27FC236}">
                <a16:creationId xmlns:a16="http://schemas.microsoft.com/office/drawing/2014/main" id="{54F6DDA6-F455-7938-AA8B-47A4D89CA6A0}"/>
              </a:ext>
            </a:extLst>
          </p:cNvPr>
          <p:cNvCxnSpPr>
            <a:cxnSpLocks/>
            <a:stCxn id="62" idx="2"/>
            <a:endCxn id="63" idx="3"/>
          </p:cNvCxnSpPr>
          <p:nvPr/>
        </p:nvCxnSpPr>
        <p:spPr>
          <a:xfrm rot="5400000">
            <a:off x="5196396" y="3451815"/>
            <a:ext cx="487764" cy="23379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eur : en angle 67">
            <a:extLst>
              <a:ext uri="{FF2B5EF4-FFF2-40B4-BE49-F238E27FC236}">
                <a16:creationId xmlns:a16="http://schemas.microsoft.com/office/drawing/2014/main" id="{92DFDF85-DC68-874A-B6B3-FE90F4A4ADC6}"/>
              </a:ext>
            </a:extLst>
          </p:cNvPr>
          <p:cNvCxnSpPr>
            <a:cxnSpLocks/>
            <a:stCxn id="7" idx="2"/>
            <a:endCxn id="62" idx="0"/>
          </p:cNvCxnSpPr>
          <p:nvPr/>
        </p:nvCxnSpPr>
        <p:spPr>
          <a:xfrm rot="5400000">
            <a:off x="5473755" y="2429344"/>
            <a:ext cx="717292" cy="55045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ZoneTexte 68">
            <a:extLst>
              <a:ext uri="{FF2B5EF4-FFF2-40B4-BE49-F238E27FC236}">
                <a16:creationId xmlns:a16="http://schemas.microsoft.com/office/drawing/2014/main" id="{13B74E7F-146E-9F16-B09C-38BF88815033}"/>
              </a:ext>
            </a:extLst>
          </p:cNvPr>
          <p:cNvSpPr txBox="1"/>
          <p:nvPr/>
        </p:nvSpPr>
        <p:spPr>
          <a:xfrm>
            <a:off x="6778920" y="3653927"/>
            <a:ext cx="1727202" cy="261610"/>
          </a:xfrm>
          <a:prstGeom prst="rect">
            <a:avLst/>
          </a:prstGeom>
          <a:noFill/>
        </p:spPr>
        <p:txBody>
          <a:bodyPr wrap="square" lIns="91440" tIns="45720" rIns="91440" bIns="45720" rtlCol="0" anchor="t">
            <a:spAutoFit/>
          </a:bodyPr>
          <a:lstStyle/>
          <a:p>
            <a:pPr algn="r"/>
            <a:r>
              <a:rPr lang="fr-FR" sz="1100" i="1" dirty="0">
                <a:latin typeface="Avenir Book" panose="02000503020000020003" pitchFamily="2" charset="0"/>
              </a:rPr>
              <a:t>Architect</a:t>
            </a:r>
          </a:p>
        </p:txBody>
      </p:sp>
      <p:cxnSp>
        <p:nvCxnSpPr>
          <p:cNvPr id="70" name="Connecteur : en angle 69">
            <a:extLst>
              <a:ext uri="{FF2B5EF4-FFF2-40B4-BE49-F238E27FC236}">
                <a16:creationId xmlns:a16="http://schemas.microsoft.com/office/drawing/2014/main" id="{0C53F64B-0EC3-583A-ED3E-EAC1BBFECCD9}"/>
              </a:ext>
            </a:extLst>
          </p:cNvPr>
          <p:cNvCxnSpPr>
            <a:cxnSpLocks/>
            <a:stCxn id="51" idx="2"/>
            <a:endCxn id="69" idx="3"/>
          </p:cNvCxnSpPr>
          <p:nvPr/>
        </p:nvCxnSpPr>
        <p:spPr>
          <a:xfrm rot="5400000">
            <a:off x="8398937" y="3425538"/>
            <a:ext cx="466380" cy="25200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D3EAAEC7-F383-91AC-5442-CBBEBEB3326D}"/>
              </a:ext>
            </a:extLst>
          </p:cNvPr>
          <p:cNvSpPr txBox="1"/>
          <p:nvPr/>
        </p:nvSpPr>
        <p:spPr>
          <a:xfrm>
            <a:off x="2356848" y="3060011"/>
            <a:ext cx="1780033" cy="261610"/>
          </a:xfrm>
          <a:prstGeom prst="rect">
            <a:avLst/>
          </a:prstGeom>
          <a:solidFill>
            <a:schemeClr val="accent5">
              <a:lumMod val="40000"/>
              <a:lumOff val="60000"/>
            </a:schemeClr>
          </a:solidFill>
          <a:ln>
            <a:solidFill>
              <a:schemeClr val="tx1"/>
            </a:solidFill>
          </a:ln>
        </p:spPr>
        <p:txBody>
          <a:bodyPr wrap="square" rtlCol="0">
            <a:spAutoFit/>
          </a:bodyPr>
          <a:lstStyle/>
          <a:p>
            <a:pPr algn="ctr"/>
            <a:r>
              <a:rPr lang="fr-FR" sz="1100" dirty="0">
                <a:latin typeface="Avenir Book" panose="02000503020000020003" pitchFamily="2" charset="0"/>
              </a:rPr>
              <a:t>Providers / Installers</a:t>
            </a:r>
          </a:p>
        </p:txBody>
      </p:sp>
      <p:cxnSp>
        <p:nvCxnSpPr>
          <p:cNvPr id="72" name="Connecteur : en angle 71">
            <a:extLst>
              <a:ext uri="{FF2B5EF4-FFF2-40B4-BE49-F238E27FC236}">
                <a16:creationId xmlns:a16="http://schemas.microsoft.com/office/drawing/2014/main" id="{644EAD1C-4669-C4E1-4A75-57BFC6EA36A4}"/>
              </a:ext>
            </a:extLst>
          </p:cNvPr>
          <p:cNvCxnSpPr>
            <a:cxnSpLocks/>
            <a:endCxn id="75" idx="1"/>
          </p:cNvCxnSpPr>
          <p:nvPr/>
        </p:nvCxnSpPr>
        <p:spPr>
          <a:xfrm rot="16200000" flipH="1">
            <a:off x="2854706" y="5111277"/>
            <a:ext cx="1099940" cy="30801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1C881A8D-8D2E-2E70-BAC8-D4C11E6DD90C}"/>
              </a:ext>
            </a:extLst>
          </p:cNvPr>
          <p:cNvSpPr txBox="1"/>
          <p:nvPr/>
        </p:nvSpPr>
        <p:spPr>
          <a:xfrm>
            <a:off x="3613770" y="5045433"/>
            <a:ext cx="1727202" cy="261610"/>
          </a:xfrm>
          <a:prstGeom prst="rect">
            <a:avLst/>
          </a:prstGeom>
          <a:noFill/>
        </p:spPr>
        <p:txBody>
          <a:bodyPr wrap="square" rtlCol="0">
            <a:spAutoFit/>
          </a:bodyPr>
          <a:lstStyle/>
          <a:p>
            <a:r>
              <a:rPr lang="fr-FR" sz="1100" i="1" dirty="0">
                <a:latin typeface="Avenir Book" panose="02000503020000020003" pitchFamily="2" charset="0"/>
              </a:rPr>
              <a:t>MEP systems products</a:t>
            </a:r>
          </a:p>
        </p:txBody>
      </p:sp>
      <p:sp>
        <p:nvSpPr>
          <p:cNvPr id="74" name="ZoneTexte 73">
            <a:extLst>
              <a:ext uri="{FF2B5EF4-FFF2-40B4-BE49-F238E27FC236}">
                <a16:creationId xmlns:a16="http://schemas.microsoft.com/office/drawing/2014/main" id="{90BA5B09-EC10-F130-5953-29606BB60DAE}"/>
              </a:ext>
            </a:extLst>
          </p:cNvPr>
          <p:cNvSpPr txBox="1"/>
          <p:nvPr/>
        </p:nvSpPr>
        <p:spPr>
          <a:xfrm>
            <a:off x="3613770" y="5340451"/>
            <a:ext cx="1727202" cy="261610"/>
          </a:xfrm>
          <a:prstGeom prst="rect">
            <a:avLst/>
          </a:prstGeom>
          <a:noFill/>
        </p:spPr>
        <p:txBody>
          <a:bodyPr wrap="square" rtlCol="0">
            <a:spAutoFit/>
          </a:bodyPr>
          <a:lstStyle/>
          <a:p>
            <a:r>
              <a:rPr lang="fr-FR" sz="1100" i="1" dirty="0">
                <a:latin typeface="Avenir Book" panose="02000503020000020003" pitchFamily="2" charset="0"/>
              </a:rPr>
              <a:t>Finishing products</a:t>
            </a:r>
          </a:p>
        </p:txBody>
      </p:sp>
      <p:sp>
        <p:nvSpPr>
          <p:cNvPr id="75" name="ZoneTexte 74">
            <a:extLst>
              <a:ext uri="{FF2B5EF4-FFF2-40B4-BE49-F238E27FC236}">
                <a16:creationId xmlns:a16="http://schemas.microsoft.com/office/drawing/2014/main" id="{C5EB8759-F3C9-969C-4A02-AE83642136E6}"/>
              </a:ext>
            </a:extLst>
          </p:cNvPr>
          <p:cNvSpPr txBox="1"/>
          <p:nvPr/>
        </p:nvSpPr>
        <p:spPr>
          <a:xfrm>
            <a:off x="3558681" y="5684447"/>
            <a:ext cx="1976584" cy="261610"/>
          </a:xfrm>
          <a:prstGeom prst="rect">
            <a:avLst/>
          </a:prstGeom>
          <a:noFill/>
        </p:spPr>
        <p:txBody>
          <a:bodyPr wrap="square" rtlCol="0">
            <a:spAutoFit/>
          </a:bodyPr>
          <a:lstStyle/>
          <a:p>
            <a:r>
              <a:rPr lang="fr-FR" sz="1100" i="1" dirty="0">
                <a:latin typeface="Avenir Book" panose="02000503020000020003" pitchFamily="2" charset="0"/>
              </a:rPr>
              <a:t>Building envelop products</a:t>
            </a:r>
          </a:p>
        </p:txBody>
      </p:sp>
      <p:cxnSp>
        <p:nvCxnSpPr>
          <p:cNvPr id="76" name="Connecteur : en angle 75">
            <a:extLst>
              <a:ext uri="{FF2B5EF4-FFF2-40B4-BE49-F238E27FC236}">
                <a16:creationId xmlns:a16="http://schemas.microsoft.com/office/drawing/2014/main" id="{02CE0267-A9DA-A1F2-0150-1F4B9C68F203}"/>
              </a:ext>
            </a:extLst>
          </p:cNvPr>
          <p:cNvCxnSpPr>
            <a:cxnSpLocks/>
            <a:endCxn id="74" idx="1"/>
          </p:cNvCxnSpPr>
          <p:nvPr/>
        </p:nvCxnSpPr>
        <p:spPr>
          <a:xfrm rot="16200000" flipH="1">
            <a:off x="3054248" y="4911734"/>
            <a:ext cx="755944" cy="3631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 en angle 76">
            <a:extLst>
              <a:ext uri="{FF2B5EF4-FFF2-40B4-BE49-F238E27FC236}">
                <a16:creationId xmlns:a16="http://schemas.microsoft.com/office/drawing/2014/main" id="{A26E6CAA-1D36-0805-0CC9-785CF848DD74}"/>
              </a:ext>
            </a:extLst>
          </p:cNvPr>
          <p:cNvCxnSpPr>
            <a:cxnSpLocks/>
            <a:endCxn id="73" idx="1"/>
          </p:cNvCxnSpPr>
          <p:nvPr/>
        </p:nvCxnSpPr>
        <p:spPr>
          <a:xfrm rot="16200000" flipH="1">
            <a:off x="3201757" y="4764225"/>
            <a:ext cx="460926" cy="3631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0BA9A181-AF54-B474-65A7-58898B0D47BC}"/>
              </a:ext>
            </a:extLst>
          </p:cNvPr>
          <p:cNvSpPr txBox="1"/>
          <p:nvPr/>
        </p:nvSpPr>
        <p:spPr>
          <a:xfrm>
            <a:off x="3575017" y="6035764"/>
            <a:ext cx="1976584" cy="261610"/>
          </a:xfrm>
          <a:prstGeom prst="rect">
            <a:avLst/>
          </a:prstGeom>
          <a:noFill/>
        </p:spPr>
        <p:txBody>
          <a:bodyPr wrap="square" lIns="91440" tIns="45720" rIns="91440" bIns="45720" rtlCol="0" anchor="t">
            <a:spAutoFit/>
          </a:bodyPr>
          <a:lstStyle/>
          <a:p>
            <a:r>
              <a:rPr lang="fr-FR" sz="1100" i="1" dirty="0">
                <a:latin typeface="Avenir Book" panose="02000503020000020003" pitchFamily="2" charset="0"/>
              </a:rPr>
              <a:t>Diagnostic expert</a:t>
            </a:r>
          </a:p>
        </p:txBody>
      </p:sp>
      <p:cxnSp>
        <p:nvCxnSpPr>
          <p:cNvPr id="79" name="Connecteur : en angle 78">
            <a:extLst>
              <a:ext uri="{FF2B5EF4-FFF2-40B4-BE49-F238E27FC236}">
                <a16:creationId xmlns:a16="http://schemas.microsoft.com/office/drawing/2014/main" id="{A12BCBA6-250D-99D1-E8D7-7DE956A99023}"/>
              </a:ext>
            </a:extLst>
          </p:cNvPr>
          <p:cNvCxnSpPr>
            <a:cxnSpLocks/>
            <a:stCxn id="71" idx="2"/>
            <a:endCxn id="78" idx="1"/>
          </p:cNvCxnSpPr>
          <p:nvPr/>
        </p:nvCxnSpPr>
        <p:spPr>
          <a:xfrm rot="16200000" flipH="1">
            <a:off x="1988467" y="4580019"/>
            <a:ext cx="2844948" cy="32815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eur : en angle 79">
            <a:extLst>
              <a:ext uri="{FF2B5EF4-FFF2-40B4-BE49-F238E27FC236}">
                <a16:creationId xmlns:a16="http://schemas.microsoft.com/office/drawing/2014/main" id="{7334655C-3197-FFC9-9CEA-77E772D84DB9}"/>
              </a:ext>
            </a:extLst>
          </p:cNvPr>
          <p:cNvCxnSpPr>
            <a:cxnSpLocks/>
            <a:stCxn id="7" idx="2"/>
            <a:endCxn id="71" idx="0"/>
          </p:cNvCxnSpPr>
          <p:nvPr/>
        </p:nvCxnSpPr>
        <p:spPr>
          <a:xfrm rot="5400000">
            <a:off x="4320205" y="1272586"/>
            <a:ext cx="714085" cy="286076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D5207BF7-FB93-07AF-4A67-A9DC735CB30A}"/>
              </a:ext>
            </a:extLst>
          </p:cNvPr>
          <p:cNvSpPr txBox="1"/>
          <p:nvPr/>
        </p:nvSpPr>
        <p:spPr>
          <a:xfrm>
            <a:off x="9920861" y="6070925"/>
            <a:ext cx="1727202" cy="261610"/>
          </a:xfrm>
          <a:prstGeom prst="rect">
            <a:avLst/>
          </a:prstGeom>
          <a:noFill/>
        </p:spPr>
        <p:txBody>
          <a:bodyPr wrap="square" rtlCol="0">
            <a:spAutoFit/>
          </a:bodyPr>
          <a:lstStyle/>
          <a:p>
            <a:r>
              <a:rPr lang="fr-FR" sz="1100" i="1" dirty="0">
                <a:latin typeface="Avenir Book" panose="02000503020000020003" pitchFamily="2" charset="0"/>
              </a:rPr>
              <a:t>Monitoring</a:t>
            </a:r>
          </a:p>
        </p:txBody>
      </p:sp>
      <p:cxnSp>
        <p:nvCxnSpPr>
          <p:cNvPr id="87" name="Connecteur : en angle 86">
            <a:extLst>
              <a:ext uri="{FF2B5EF4-FFF2-40B4-BE49-F238E27FC236}">
                <a16:creationId xmlns:a16="http://schemas.microsoft.com/office/drawing/2014/main" id="{34E3F5E1-C902-A4C7-14C0-EE4729ED6223}"/>
              </a:ext>
            </a:extLst>
          </p:cNvPr>
          <p:cNvCxnSpPr>
            <a:cxnSpLocks/>
            <a:endCxn id="86" idx="1"/>
          </p:cNvCxnSpPr>
          <p:nvPr/>
        </p:nvCxnSpPr>
        <p:spPr>
          <a:xfrm rot="16200000" flipH="1">
            <a:off x="9142616" y="5423484"/>
            <a:ext cx="1112075" cy="4444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55575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CD2F5D9-9BB8-BA5F-89D3-C47D56556501}"/>
              </a:ext>
            </a:extLst>
          </p:cNvPr>
          <p:cNvGraphicFramePr>
            <a:graphicFrameLocks noChangeAspect="1"/>
          </p:cNvGraphicFramePr>
          <p:nvPr>
            <p:custDataLst>
              <p:tags r:id="rId1"/>
            </p:custDataLst>
            <p:extLst>
              <p:ext uri="{D42A27DB-BD31-4B8C-83A1-F6EECF244321}">
                <p14:modId xmlns:p14="http://schemas.microsoft.com/office/powerpoint/2010/main" val="89991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Objet 3" hidden="1">
                        <a:extLst>
                          <a:ext uri="{FF2B5EF4-FFF2-40B4-BE49-F238E27FC236}">
                            <a16:creationId xmlns:a16="http://schemas.microsoft.com/office/drawing/2014/main" id="{ECD2F5D9-9BB8-BA5F-89D3-C47D56556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4CC5F6EA-3BA2-582B-CA64-0414830E86B2}"/>
              </a:ext>
            </a:extLst>
          </p:cNvPr>
          <p:cNvSpPr>
            <a:spLocks noGrp="1"/>
          </p:cNvSpPr>
          <p:nvPr>
            <p:ph type="sldNum" sz="quarter" idx="2"/>
          </p:nvPr>
        </p:nvSpPr>
        <p:spPr/>
        <p:txBody>
          <a:bodyPr/>
          <a:lstStyle/>
          <a:p>
            <a:fld id="{D2D4539B-BA63-4FDA-A896-DC7ADFB317E4}" type="slidenum">
              <a:rPr lang="en-GB" smtClean="0"/>
              <a:pPr/>
              <a:t>4</a:t>
            </a:fld>
            <a:endParaRPr lang="en-GB" dirty="0"/>
          </a:p>
        </p:txBody>
      </p:sp>
      <p:sp>
        <p:nvSpPr>
          <p:cNvPr id="3" name="Titre 2">
            <a:extLst>
              <a:ext uri="{FF2B5EF4-FFF2-40B4-BE49-F238E27FC236}">
                <a16:creationId xmlns:a16="http://schemas.microsoft.com/office/drawing/2014/main" id="{0AF62BE3-7880-A19D-F768-6BA21E4B0E43}"/>
              </a:ext>
            </a:extLst>
          </p:cNvPr>
          <p:cNvSpPr>
            <a:spLocks noGrp="1"/>
          </p:cNvSpPr>
          <p:nvPr>
            <p:ph type="title"/>
          </p:nvPr>
        </p:nvSpPr>
        <p:spPr>
          <a:xfrm>
            <a:off x="850487" y="141197"/>
            <a:ext cx="10970037" cy="912185"/>
          </a:xfrm>
        </p:spPr>
        <p:txBody>
          <a:bodyPr vert="horz"/>
          <a:lstStyle/>
          <a:p>
            <a:r>
              <a:rPr lang="fr-FR" sz="2800" dirty="0">
                <a:solidFill>
                  <a:srgbClr val="00B8C2"/>
                </a:solidFill>
                <a:latin typeface="Avenir Book"/>
                <a:ea typeface="Calibri" panose="020F0502020204030204" pitchFamily="34" charset="0"/>
                <a:cs typeface="+mn-cs"/>
              </a:rPr>
              <a:t>ITALY</a:t>
            </a:r>
            <a:r>
              <a:rPr kumimoji="0" lang="fr-FR" sz="2400" b="0" i="0" u="none" strike="noStrike" kern="1200" cap="all" spc="0" normalizeH="0" baseline="0" noProof="0" dirty="0">
                <a:ln>
                  <a:noFill/>
                </a:ln>
                <a:solidFill>
                  <a:srgbClr val="078970"/>
                </a:solidFill>
                <a:effectLst/>
                <a:uLnTx/>
                <a:uFillTx/>
                <a:latin typeface="Avenir Black"/>
                <a:ea typeface="Avenir Black" panose="020B0803020203020204" pitchFamily="34" charset="0"/>
                <a:cs typeface="Arial"/>
              </a:rPr>
              <a:t> </a:t>
            </a:r>
            <a:r>
              <a:rPr kumimoji="0" lang="fr-FR" sz="2400" b="0" i="0" u="none" strike="noStrike" kern="1200" cap="all" spc="0" normalizeH="0" baseline="0" noProof="0" dirty="0">
                <a:ln>
                  <a:noFill/>
                </a:ln>
                <a:solidFill>
                  <a:srgbClr val="172154"/>
                </a:solidFill>
                <a:effectLst/>
                <a:uLnTx/>
                <a:uFillTx/>
                <a:latin typeface="Avenir Book"/>
                <a:ea typeface="Avenir Black" panose="020B0803020203020204" pitchFamily="34" charset="0"/>
                <a:cs typeface="Arial"/>
              </a:rPr>
              <a:t>– </a:t>
            </a:r>
            <a:r>
              <a:rPr lang="fr-FR" sz="2400" b="0" cap="all" dirty="0">
                <a:solidFill>
                  <a:srgbClr val="172154"/>
                </a:solidFill>
                <a:latin typeface="Avenir Book"/>
                <a:ea typeface="Avenir Black" panose="020B0803020203020204" pitchFamily="34" charset="0"/>
                <a:cs typeface="Arial"/>
              </a:rPr>
              <a:t>Retrofit WORKFLOW anD RESPONSIBILITIES </a:t>
            </a:r>
            <a:br>
              <a:rPr lang="fr-FR" sz="2400" b="0" cap="all" dirty="0">
                <a:latin typeface="Avenir Book" panose="02000503020000020003" pitchFamily="2" charset="0"/>
                <a:ea typeface="Avenir Black" panose="020B0803020203020204" pitchFamily="34" charset="0"/>
                <a:cs typeface="Arial"/>
              </a:rPr>
            </a:br>
            <a:r>
              <a:rPr lang="fr-FR" sz="1400" b="0" cap="all" dirty="0">
                <a:solidFill>
                  <a:srgbClr val="172154"/>
                </a:solidFill>
                <a:latin typeface="Avenir Book"/>
                <a:ea typeface="Avenir Black" panose="020B0803020203020204" pitchFamily="34" charset="0"/>
                <a:cs typeface="Arial"/>
              </a:rPr>
              <a:t>(to MAKE Off-site supply chain work. ACTORS CAN HAVE MORE THAN ONE ROLE) </a:t>
            </a:r>
            <a:endParaRPr lang="en-GB" sz="2400" b="0" cap="all" dirty="0">
              <a:solidFill>
                <a:srgbClr val="172154"/>
              </a:solidFill>
              <a:latin typeface="Avenir Book" panose="02000503020000020003" pitchFamily="2" charset="0"/>
              <a:ea typeface="Avenir Black" panose="020B0803020203020204" pitchFamily="34" charset="0"/>
              <a:cs typeface="Arial"/>
            </a:endParaRPr>
          </a:p>
        </p:txBody>
      </p:sp>
      <p:pic>
        <p:nvPicPr>
          <p:cNvPr id="5" name="Picture 6">
            <a:extLst>
              <a:ext uri="{FF2B5EF4-FFF2-40B4-BE49-F238E27FC236}">
                <a16:creationId xmlns:a16="http://schemas.microsoft.com/office/drawing/2014/main" id="{D7E1580B-3964-5F39-0614-8C4D882D30FF}"/>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0937338" y="497494"/>
            <a:ext cx="787281" cy="524853"/>
          </a:xfrm>
          <a:prstGeom prst="rect">
            <a:avLst/>
          </a:prstGeom>
          <a:noFill/>
          <a:extLst>
            <a:ext uri="{909E8E84-426E-40DD-AFC4-6F175D3DCCD1}">
              <a14:hiddenFill xmlns:a14="http://schemas.microsoft.com/office/drawing/2010/main">
                <a:solidFill>
                  <a:srgbClr val="FFFFFF"/>
                </a:solidFill>
              </a14:hiddenFill>
            </a:ext>
          </a:extLst>
        </p:spPr>
      </p:pic>
      <p:sp>
        <p:nvSpPr>
          <p:cNvPr id="6" name="Rettangolo 5">
            <a:extLst>
              <a:ext uri="{FF2B5EF4-FFF2-40B4-BE49-F238E27FC236}">
                <a16:creationId xmlns:a16="http://schemas.microsoft.com/office/drawing/2014/main" id="{B71ABB1C-6849-9F4A-690C-7EB33829405C}"/>
              </a:ext>
            </a:extLst>
          </p:cNvPr>
          <p:cNvSpPr/>
          <p:nvPr/>
        </p:nvSpPr>
        <p:spPr>
          <a:xfrm>
            <a:off x="9078374" y="2809875"/>
            <a:ext cx="1612435" cy="3001685"/>
          </a:xfrm>
          <a:prstGeom prst="rect">
            <a:avLst/>
          </a:prstGeom>
          <a:solidFill>
            <a:schemeClr val="bg1">
              <a:lumMod val="85000"/>
            </a:schemeClr>
          </a:solidFill>
          <a:ln w="63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it-IT" sz="2800" dirty="0">
                <a:solidFill>
                  <a:srgbClr val="033F51"/>
                </a:solidFill>
              </a:rPr>
              <a:t>ON-SITE</a:t>
            </a:r>
          </a:p>
        </p:txBody>
      </p:sp>
      <p:sp>
        <p:nvSpPr>
          <p:cNvPr id="7" name="Rettangolo 13">
            <a:extLst>
              <a:ext uri="{FF2B5EF4-FFF2-40B4-BE49-F238E27FC236}">
                <a16:creationId xmlns:a16="http://schemas.microsoft.com/office/drawing/2014/main" id="{55054A85-BC43-5BAB-F469-0431280ECD62}"/>
              </a:ext>
            </a:extLst>
          </p:cNvPr>
          <p:cNvSpPr/>
          <p:nvPr/>
        </p:nvSpPr>
        <p:spPr>
          <a:xfrm>
            <a:off x="7250784" y="2809875"/>
            <a:ext cx="1647096" cy="3001685"/>
          </a:xfrm>
          <a:prstGeom prst="rect">
            <a:avLst/>
          </a:prstGeom>
          <a:solidFill>
            <a:schemeClr val="bg1">
              <a:lumMod val="85000"/>
            </a:schemeClr>
          </a:solidFill>
          <a:ln w="63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it-IT" sz="2800" dirty="0">
                <a:solidFill>
                  <a:srgbClr val="033F51"/>
                </a:solidFill>
              </a:rPr>
              <a:t>OFF-SITE</a:t>
            </a:r>
          </a:p>
        </p:txBody>
      </p:sp>
      <p:cxnSp>
        <p:nvCxnSpPr>
          <p:cNvPr id="8" name="Straight Arrow Connector 5">
            <a:extLst>
              <a:ext uri="{FF2B5EF4-FFF2-40B4-BE49-F238E27FC236}">
                <a16:creationId xmlns:a16="http://schemas.microsoft.com/office/drawing/2014/main" id="{23225BB1-7EAC-311A-BE02-BE375C9E118B}"/>
              </a:ext>
            </a:extLst>
          </p:cNvPr>
          <p:cNvCxnSpPr>
            <a:cxnSpLocks/>
            <a:stCxn id="29" idx="2"/>
            <a:endCxn id="9" idx="0"/>
          </p:cNvCxnSpPr>
          <p:nvPr/>
        </p:nvCxnSpPr>
        <p:spPr>
          <a:xfrm>
            <a:off x="6823752" y="1735183"/>
            <a:ext cx="5793" cy="336818"/>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89DD5182-C8E4-C9B3-15EE-CC5B9B117018}"/>
              </a:ext>
            </a:extLst>
          </p:cNvPr>
          <p:cNvSpPr/>
          <p:nvPr/>
        </p:nvSpPr>
        <p:spPr>
          <a:xfrm>
            <a:off x="6146600" y="2072001"/>
            <a:ext cx="1365889" cy="327450"/>
          </a:xfrm>
          <a:prstGeom prst="roundRect">
            <a:avLst/>
          </a:prstGeom>
          <a:solidFill>
            <a:schemeClr val="accent2">
              <a:lumMod val="40000"/>
              <a:lumOff val="6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ONE-STOP-SHOP</a:t>
            </a:r>
            <a:endParaRPr lang="en-GB" sz="1200" dirty="0">
              <a:solidFill>
                <a:schemeClr val="tx1">
                  <a:lumMod val="50000"/>
                </a:schemeClr>
              </a:solidFill>
            </a:endParaRPr>
          </a:p>
        </p:txBody>
      </p:sp>
      <p:sp>
        <p:nvSpPr>
          <p:cNvPr id="10" name="Rectangle: Rounded Corners 9">
            <a:extLst>
              <a:ext uri="{FF2B5EF4-FFF2-40B4-BE49-F238E27FC236}">
                <a16:creationId xmlns:a16="http://schemas.microsoft.com/office/drawing/2014/main" id="{C303E782-84E6-52E1-13EC-BDBD3C9C58AC}"/>
              </a:ext>
            </a:extLst>
          </p:cNvPr>
          <p:cNvSpPr/>
          <p:nvPr/>
        </p:nvSpPr>
        <p:spPr>
          <a:xfrm>
            <a:off x="4161838" y="2980118"/>
            <a:ext cx="1258585" cy="665571"/>
          </a:xfrm>
          <a:prstGeom prst="roundRect">
            <a:avLst/>
          </a:prstGeom>
          <a:solidFill>
            <a:srgbClr val="FDDCD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TECHNICAL POINT OF REFERENCE</a:t>
            </a:r>
            <a:endParaRPr lang="en-GB" sz="1200" dirty="0">
              <a:solidFill>
                <a:schemeClr val="tx1">
                  <a:lumMod val="50000"/>
                </a:schemeClr>
              </a:solidFill>
            </a:endParaRPr>
          </a:p>
        </p:txBody>
      </p:sp>
      <p:sp>
        <p:nvSpPr>
          <p:cNvPr id="11" name="Rectangle: Rounded Corners 10">
            <a:extLst>
              <a:ext uri="{FF2B5EF4-FFF2-40B4-BE49-F238E27FC236}">
                <a16:creationId xmlns:a16="http://schemas.microsoft.com/office/drawing/2014/main" id="{A8505AB0-1563-8BC5-551F-9296EF076D66}"/>
              </a:ext>
            </a:extLst>
          </p:cNvPr>
          <p:cNvSpPr/>
          <p:nvPr/>
        </p:nvSpPr>
        <p:spPr>
          <a:xfrm>
            <a:off x="9235115" y="3019700"/>
            <a:ext cx="1288233" cy="665571"/>
          </a:xfrm>
          <a:prstGeom prst="roundRect">
            <a:avLst/>
          </a:prstGeom>
          <a:solidFill>
            <a:srgbClr val="FDDCD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CONSTRUCTION</a:t>
            </a:r>
          </a:p>
          <a:p>
            <a:pPr algn="ctr"/>
            <a:r>
              <a:rPr lang="it-IT" sz="1200" dirty="0">
                <a:solidFill>
                  <a:schemeClr val="tx1">
                    <a:lumMod val="50000"/>
                  </a:schemeClr>
                </a:solidFill>
              </a:rPr>
              <a:t>ON-SITE </a:t>
            </a:r>
            <a:br>
              <a:rPr lang="it-IT" sz="1200" dirty="0">
                <a:solidFill>
                  <a:schemeClr val="tx1">
                    <a:lumMod val="50000"/>
                  </a:schemeClr>
                </a:solidFill>
              </a:rPr>
            </a:br>
            <a:r>
              <a:rPr lang="it-IT" sz="1200" dirty="0">
                <a:solidFill>
                  <a:schemeClr val="tx1">
                    <a:lumMod val="50000"/>
                  </a:schemeClr>
                </a:solidFill>
              </a:rPr>
              <a:t>COMPANY</a:t>
            </a:r>
          </a:p>
        </p:txBody>
      </p:sp>
      <p:sp>
        <p:nvSpPr>
          <p:cNvPr id="12" name="Rectangle: Rounded Corners 11">
            <a:extLst>
              <a:ext uri="{FF2B5EF4-FFF2-40B4-BE49-F238E27FC236}">
                <a16:creationId xmlns:a16="http://schemas.microsoft.com/office/drawing/2014/main" id="{C2ABF1BD-C2C9-D50B-71F0-94F7E0C5F5D8}"/>
              </a:ext>
            </a:extLst>
          </p:cNvPr>
          <p:cNvSpPr/>
          <p:nvPr/>
        </p:nvSpPr>
        <p:spPr>
          <a:xfrm>
            <a:off x="7335150" y="3019700"/>
            <a:ext cx="1448323" cy="665571"/>
          </a:xfrm>
          <a:prstGeom prst="roundRect">
            <a:avLst/>
          </a:prstGeom>
          <a:solidFill>
            <a:srgbClr val="FDDCDC"/>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PANEL MANUFACTURER</a:t>
            </a:r>
            <a:endParaRPr lang="en-GB" sz="1200" dirty="0">
              <a:solidFill>
                <a:schemeClr val="tx1">
                  <a:lumMod val="50000"/>
                </a:schemeClr>
              </a:solidFill>
            </a:endParaRPr>
          </a:p>
        </p:txBody>
      </p:sp>
      <p:sp>
        <p:nvSpPr>
          <p:cNvPr id="13" name="Rectangle: Rounded Corners 18">
            <a:extLst>
              <a:ext uri="{FF2B5EF4-FFF2-40B4-BE49-F238E27FC236}">
                <a16:creationId xmlns:a16="http://schemas.microsoft.com/office/drawing/2014/main" id="{08AC67C6-1A39-F526-1F07-0A49FC218B9C}"/>
              </a:ext>
            </a:extLst>
          </p:cNvPr>
          <p:cNvSpPr/>
          <p:nvPr/>
        </p:nvSpPr>
        <p:spPr>
          <a:xfrm>
            <a:off x="3441241" y="4281975"/>
            <a:ext cx="1258584" cy="665571"/>
          </a:xfrm>
          <a:prstGeom prst="roundRect">
            <a:avLst/>
          </a:prstGeom>
          <a:solidFill>
            <a:srgbClr val="C2E9F3"/>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TRADITIONAL SYSTEM EXPERTS</a:t>
            </a:r>
            <a:endParaRPr lang="en-GB" sz="1200" dirty="0">
              <a:solidFill>
                <a:schemeClr val="tx1">
                  <a:lumMod val="50000"/>
                </a:schemeClr>
              </a:solidFill>
            </a:endParaRPr>
          </a:p>
        </p:txBody>
      </p:sp>
      <p:sp>
        <p:nvSpPr>
          <p:cNvPr id="14" name="Rectangle: Rounded Corners 19">
            <a:extLst>
              <a:ext uri="{FF2B5EF4-FFF2-40B4-BE49-F238E27FC236}">
                <a16:creationId xmlns:a16="http://schemas.microsoft.com/office/drawing/2014/main" id="{C01FAC56-5620-04CD-D5F9-2EF50F0D7118}"/>
              </a:ext>
            </a:extLst>
          </p:cNvPr>
          <p:cNvSpPr/>
          <p:nvPr/>
        </p:nvSpPr>
        <p:spPr>
          <a:xfrm>
            <a:off x="4816651" y="4281975"/>
            <a:ext cx="1258584" cy="665571"/>
          </a:xfrm>
          <a:prstGeom prst="roundRect">
            <a:avLst/>
          </a:prstGeom>
          <a:solidFill>
            <a:srgbClr val="C2E9F3"/>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SYSTEM) INTEGRATOR</a:t>
            </a:r>
            <a:endParaRPr lang="en-GB" sz="1200" dirty="0">
              <a:solidFill>
                <a:schemeClr val="tx1">
                  <a:lumMod val="50000"/>
                </a:schemeClr>
              </a:solidFill>
            </a:endParaRPr>
          </a:p>
        </p:txBody>
      </p:sp>
      <p:cxnSp>
        <p:nvCxnSpPr>
          <p:cNvPr id="15" name="Straight Arrow Connector 29">
            <a:extLst>
              <a:ext uri="{FF2B5EF4-FFF2-40B4-BE49-F238E27FC236}">
                <a16:creationId xmlns:a16="http://schemas.microsoft.com/office/drawing/2014/main" id="{17E27199-61D1-5410-828E-48FE09AC3B64}"/>
              </a:ext>
            </a:extLst>
          </p:cNvPr>
          <p:cNvCxnSpPr>
            <a:cxnSpLocks/>
            <a:endCxn id="11" idx="0"/>
          </p:cNvCxnSpPr>
          <p:nvPr/>
        </p:nvCxnSpPr>
        <p:spPr>
          <a:xfrm flipH="1">
            <a:off x="9879232" y="2652436"/>
            <a:ext cx="7139" cy="367264"/>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30">
            <a:extLst>
              <a:ext uri="{FF2B5EF4-FFF2-40B4-BE49-F238E27FC236}">
                <a16:creationId xmlns:a16="http://schemas.microsoft.com/office/drawing/2014/main" id="{7FD933EE-4004-C7AB-B076-05475D34AB76}"/>
              </a:ext>
            </a:extLst>
          </p:cNvPr>
          <p:cNvCxnSpPr>
            <a:cxnSpLocks/>
            <a:endCxn id="10" idx="0"/>
          </p:cNvCxnSpPr>
          <p:nvPr/>
        </p:nvCxnSpPr>
        <p:spPr>
          <a:xfrm flipH="1">
            <a:off x="4791131" y="2652436"/>
            <a:ext cx="9720" cy="327682"/>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32">
            <a:extLst>
              <a:ext uri="{FF2B5EF4-FFF2-40B4-BE49-F238E27FC236}">
                <a16:creationId xmlns:a16="http://schemas.microsoft.com/office/drawing/2014/main" id="{92D10400-8D60-2D65-9399-11DBC6654AD9}"/>
              </a:ext>
            </a:extLst>
          </p:cNvPr>
          <p:cNvCxnSpPr>
            <a:cxnSpLocks/>
            <a:endCxn id="13" idx="0"/>
          </p:cNvCxnSpPr>
          <p:nvPr/>
        </p:nvCxnSpPr>
        <p:spPr>
          <a:xfrm flipH="1">
            <a:off x="4070533" y="3971114"/>
            <a:ext cx="21963" cy="310861"/>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33">
            <a:extLst>
              <a:ext uri="{FF2B5EF4-FFF2-40B4-BE49-F238E27FC236}">
                <a16:creationId xmlns:a16="http://schemas.microsoft.com/office/drawing/2014/main" id="{DCA7E3AB-E594-2164-3E5F-5D287970E409}"/>
              </a:ext>
            </a:extLst>
          </p:cNvPr>
          <p:cNvCxnSpPr>
            <a:cxnSpLocks/>
            <a:endCxn id="14" idx="0"/>
          </p:cNvCxnSpPr>
          <p:nvPr/>
        </p:nvCxnSpPr>
        <p:spPr>
          <a:xfrm flipH="1">
            <a:off x="5445943" y="3971114"/>
            <a:ext cx="21963" cy="310861"/>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35">
            <a:extLst>
              <a:ext uri="{FF2B5EF4-FFF2-40B4-BE49-F238E27FC236}">
                <a16:creationId xmlns:a16="http://schemas.microsoft.com/office/drawing/2014/main" id="{7CB38D2E-2D9F-D0E8-D7A0-E5BBF435A307}"/>
              </a:ext>
            </a:extLst>
          </p:cNvPr>
          <p:cNvCxnSpPr>
            <a:cxnSpLocks/>
            <a:stCxn id="14" idx="3"/>
            <a:endCxn id="12" idx="1"/>
          </p:cNvCxnSpPr>
          <p:nvPr/>
        </p:nvCxnSpPr>
        <p:spPr>
          <a:xfrm flipV="1">
            <a:off x="6075235" y="3352486"/>
            <a:ext cx="1259915" cy="1262275"/>
          </a:xfrm>
          <a:prstGeom prst="straightConnector1">
            <a:avLst/>
          </a:prstGeom>
          <a:ln w="19050" cap="rnd">
            <a:solidFill>
              <a:schemeClr val="tx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39">
            <a:extLst>
              <a:ext uri="{FF2B5EF4-FFF2-40B4-BE49-F238E27FC236}">
                <a16:creationId xmlns:a16="http://schemas.microsoft.com/office/drawing/2014/main" id="{3CDE9884-807E-F715-F25B-25B6EB47BED1}"/>
              </a:ext>
            </a:extLst>
          </p:cNvPr>
          <p:cNvCxnSpPr>
            <a:cxnSpLocks/>
            <a:stCxn id="14" idx="3"/>
            <a:endCxn id="33" idx="3"/>
          </p:cNvCxnSpPr>
          <p:nvPr/>
        </p:nvCxnSpPr>
        <p:spPr>
          <a:xfrm flipV="1">
            <a:off x="6075235" y="4586522"/>
            <a:ext cx="1644612" cy="28239"/>
          </a:xfrm>
          <a:prstGeom prst="straightConnector1">
            <a:avLst/>
          </a:prstGeom>
          <a:ln w="19050" cap="rnd">
            <a:solidFill>
              <a:schemeClr val="tx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42">
            <a:extLst>
              <a:ext uri="{FF2B5EF4-FFF2-40B4-BE49-F238E27FC236}">
                <a16:creationId xmlns:a16="http://schemas.microsoft.com/office/drawing/2014/main" id="{4700ACDA-ED70-88EB-576B-BD7055DEB613}"/>
              </a:ext>
            </a:extLst>
          </p:cNvPr>
          <p:cNvCxnSpPr>
            <a:cxnSpLocks/>
            <a:endCxn id="11" idx="2"/>
          </p:cNvCxnSpPr>
          <p:nvPr/>
        </p:nvCxnSpPr>
        <p:spPr>
          <a:xfrm flipH="1" flipV="1">
            <a:off x="9879232" y="3685271"/>
            <a:ext cx="599" cy="612000"/>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52">
            <a:extLst>
              <a:ext uri="{FF2B5EF4-FFF2-40B4-BE49-F238E27FC236}">
                <a16:creationId xmlns:a16="http://schemas.microsoft.com/office/drawing/2014/main" id="{11D481FC-E6CB-798A-6213-B8976C9E2D6D}"/>
              </a:ext>
            </a:extLst>
          </p:cNvPr>
          <p:cNvCxnSpPr>
            <a:cxnSpLocks/>
          </p:cNvCxnSpPr>
          <p:nvPr/>
        </p:nvCxnSpPr>
        <p:spPr>
          <a:xfrm>
            <a:off x="4807679" y="2652436"/>
            <a:ext cx="2010045" cy="0"/>
          </a:xfrm>
          <a:prstGeom prst="straightConnector1">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58">
            <a:extLst>
              <a:ext uri="{FF2B5EF4-FFF2-40B4-BE49-F238E27FC236}">
                <a16:creationId xmlns:a16="http://schemas.microsoft.com/office/drawing/2014/main" id="{E485C9AC-14CD-3FAA-F391-0A9BFE018129}"/>
              </a:ext>
            </a:extLst>
          </p:cNvPr>
          <p:cNvCxnSpPr>
            <a:cxnSpLocks/>
          </p:cNvCxnSpPr>
          <p:nvPr/>
        </p:nvCxnSpPr>
        <p:spPr>
          <a:xfrm>
            <a:off x="4092496" y="3963775"/>
            <a:ext cx="1371854" cy="0"/>
          </a:xfrm>
          <a:prstGeom prst="straightConnector1">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66">
            <a:extLst>
              <a:ext uri="{FF2B5EF4-FFF2-40B4-BE49-F238E27FC236}">
                <a16:creationId xmlns:a16="http://schemas.microsoft.com/office/drawing/2014/main" id="{DC143077-6334-DEC0-3113-8A0656ABC499}"/>
              </a:ext>
            </a:extLst>
          </p:cNvPr>
          <p:cNvCxnSpPr>
            <a:cxnSpLocks/>
            <a:stCxn id="9" idx="2"/>
          </p:cNvCxnSpPr>
          <p:nvPr/>
        </p:nvCxnSpPr>
        <p:spPr>
          <a:xfrm>
            <a:off x="6829545" y="2399451"/>
            <a:ext cx="21907" cy="252985"/>
          </a:xfrm>
          <a:prstGeom prst="straightConnector1">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71">
            <a:extLst>
              <a:ext uri="{FF2B5EF4-FFF2-40B4-BE49-F238E27FC236}">
                <a16:creationId xmlns:a16="http://schemas.microsoft.com/office/drawing/2014/main" id="{12313CF4-7C7C-BC21-51AF-646C5FB8CE4A}"/>
              </a:ext>
            </a:extLst>
          </p:cNvPr>
          <p:cNvCxnSpPr>
            <a:cxnSpLocks/>
          </p:cNvCxnSpPr>
          <p:nvPr/>
        </p:nvCxnSpPr>
        <p:spPr>
          <a:xfrm>
            <a:off x="6817724" y="2652436"/>
            <a:ext cx="3068647" cy="0"/>
          </a:xfrm>
          <a:prstGeom prst="straightConnector1">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85">
            <a:extLst>
              <a:ext uri="{FF2B5EF4-FFF2-40B4-BE49-F238E27FC236}">
                <a16:creationId xmlns:a16="http://schemas.microsoft.com/office/drawing/2014/main" id="{55FAB3E2-E09B-3CAA-3F5D-5D65B7262A60}"/>
              </a:ext>
            </a:extLst>
          </p:cNvPr>
          <p:cNvCxnSpPr>
            <a:cxnSpLocks/>
            <a:stCxn id="10" idx="2"/>
          </p:cNvCxnSpPr>
          <p:nvPr/>
        </p:nvCxnSpPr>
        <p:spPr>
          <a:xfrm>
            <a:off x="4791131" y="3645689"/>
            <a:ext cx="9720" cy="318086"/>
          </a:xfrm>
          <a:prstGeom prst="straightConnector1">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Rounded Corners 91">
            <a:extLst>
              <a:ext uri="{FF2B5EF4-FFF2-40B4-BE49-F238E27FC236}">
                <a16:creationId xmlns:a16="http://schemas.microsoft.com/office/drawing/2014/main" id="{421B6F80-CBA9-47CB-A3B3-E3B3B181B089}"/>
              </a:ext>
            </a:extLst>
          </p:cNvPr>
          <p:cNvSpPr/>
          <p:nvPr/>
        </p:nvSpPr>
        <p:spPr>
          <a:xfrm>
            <a:off x="6075235" y="1201292"/>
            <a:ext cx="1497034" cy="533891"/>
          </a:xfrm>
          <a:prstGeom prst="roundRect">
            <a:avLst/>
          </a:prstGeom>
          <a:solidFill>
            <a:srgbClr val="FFF1D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lumMod val="50000"/>
                  </a:schemeClr>
                </a:solidFill>
              </a:rPr>
              <a:t>BUILDING OWNER/MANAGER</a:t>
            </a:r>
            <a:endParaRPr lang="en-GB" sz="1200" dirty="0">
              <a:solidFill>
                <a:schemeClr val="tx1">
                  <a:lumMod val="50000"/>
                </a:schemeClr>
              </a:solidFill>
            </a:endParaRPr>
          </a:p>
        </p:txBody>
      </p:sp>
      <p:cxnSp>
        <p:nvCxnSpPr>
          <p:cNvPr id="30" name="Straight Arrow Connector 76">
            <a:extLst>
              <a:ext uri="{FF2B5EF4-FFF2-40B4-BE49-F238E27FC236}">
                <a16:creationId xmlns:a16="http://schemas.microsoft.com/office/drawing/2014/main" id="{88189A5C-3DBA-D76D-0DFE-27FDBBB88836}"/>
              </a:ext>
            </a:extLst>
          </p:cNvPr>
          <p:cNvCxnSpPr>
            <a:cxnSpLocks/>
            <a:stCxn id="12" idx="3"/>
            <a:endCxn id="11" idx="1"/>
          </p:cNvCxnSpPr>
          <p:nvPr/>
        </p:nvCxnSpPr>
        <p:spPr>
          <a:xfrm>
            <a:off x="8783473" y="3352486"/>
            <a:ext cx="451642" cy="0"/>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42">
            <a:extLst>
              <a:ext uri="{FF2B5EF4-FFF2-40B4-BE49-F238E27FC236}">
                <a16:creationId xmlns:a16="http://schemas.microsoft.com/office/drawing/2014/main" id="{0093F834-95AD-FE73-C15F-E846EB7BEB96}"/>
              </a:ext>
            </a:extLst>
          </p:cNvPr>
          <p:cNvCxnSpPr>
            <a:cxnSpLocks/>
            <a:endCxn id="12" idx="2"/>
          </p:cNvCxnSpPr>
          <p:nvPr/>
        </p:nvCxnSpPr>
        <p:spPr>
          <a:xfrm flipH="1" flipV="1">
            <a:off x="8059312" y="3685271"/>
            <a:ext cx="23228" cy="578089"/>
          </a:xfrm>
          <a:prstGeom prst="straightConnector1">
            <a:avLst/>
          </a:prstGeom>
          <a:ln w="1270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32" name="Gruppo 46">
            <a:extLst>
              <a:ext uri="{FF2B5EF4-FFF2-40B4-BE49-F238E27FC236}">
                <a16:creationId xmlns:a16="http://schemas.microsoft.com/office/drawing/2014/main" id="{D464EE95-9909-A338-18A5-0D01F3644187}"/>
              </a:ext>
            </a:extLst>
          </p:cNvPr>
          <p:cNvGrpSpPr/>
          <p:nvPr/>
        </p:nvGrpSpPr>
        <p:grpSpPr>
          <a:xfrm>
            <a:off x="7719847" y="4270387"/>
            <a:ext cx="2590564" cy="641298"/>
            <a:chOff x="4695218" y="5056167"/>
            <a:chExt cx="2673661" cy="641298"/>
          </a:xfrm>
          <a:solidFill>
            <a:srgbClr val="C2E9F3"/>
          </a:solidFill>
        </p:grpSpPr>
        <p:sp>
          <p:nvSpPr>
            <p:cNvPr id="33" name="Freccia a pentagono 47">
              <a:extLst>
                <a:ext uri="{FF2B5EF4-FFF2-40B4-BE49-F238E27FC236}">
                  <a16:creationId xmlns:a16="http://schemas.microsoft.com/office/drawing/2014/main" id="{67A14DB2-5FE9-8E9B-963B-8D22D88B369C}"/>
                </a:ext>
              </a:extLst>
            </p:cNvPr>
            <p:cNvSpPr/>
            <p:nvPr/>
          </p:nvSpPr>
          <p:spPr>
            <a:xfrm flipH="1">
              <a:off x="4695218" y="5058437"/>
              <a:ext cx="1844823" cy="627729"/>
            </a:xfrm>
            <a:prstGeom prst="homePlat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t-IT" sz="1200" dirty="0">
                  <a:solidFill>
                    <a:schemeClr val="tx1">
                      <a:lumMod val="50000"/>
                    </a:schemeClr>
                  </a:solidFill>
                </a:rPr>
                <a:t>SOLUTIONS AND SERVICES PROVIDERS</a:t>
              </a:r>
            </a:p>
          </p:txBody>
        </p:sp>
        <p:sp>
          <p:nvSpPr>
            <p:cNvPr id="34" name="Rettangolo 48">
              <a:extLst>
                <a:ext uri="{FF2B5EF4-FFF2-40B4-BE49-F238E27FC236}">
                  <a16:creationId xmlns:a16="http://schemas.microsoft.com/office/drawing/2014/main" id="{796274D4-31D0-95A7-4A7E-A43B1EB7FD70}"/>
                </a:ext>
              </a:extLst>
            </p:cNvPr>
            <p:cNvSpPr/>
            <p:nvPr/>
          </p:nvSpPr>
          <p:spPr>
            <a:xfrm>
              <a:off x="6572931" y="5058437"/>
              <a:ext cx="249679" cy="627733"/>
            </a:xfrm>
            <a:prstGeom prst="rect">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dirty="0">
                <a:solidFill>
                  <a:schemeClr val="tx1">
                    <a:lumMod val="50000"/>
                  </a:schemeClr>
                </a:solidFill>
              </a:endParaRPr>
            </a:p>
          </p:txBody>
        </p:sp>
        <p:sp>
          <p:nvSpPr>
            <p:cNvPr id="35" name="Rettangolo 49">
              <a:extLst>
                <a:ext uri="{FF2B5EF4-FFF2-40B4-BE49-F238E27FC236}">
                  <a16:creationId xmlns:a16="http://schemas.microsoft.com/office/drawing/2014/main" id="{ABFE572B-D020-C84F-48B9-7C0020EE22E4}"/>
                </a:ext>
              </a:extLst>
            </p:cNvPr>
            <p:cNvSpPr/>
            <p:nvPr/>
          </p:nvSpPr>
          <p:spPr>
            <a:xfrm>
              <a:off x="6855202" y="5056167"/>
              <a:ext cx="204026" cy="627733"/>
            </a:xfrm>
            <a:prstGeom prst="rect">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dirty="0">
                <a:solidFill>
                  <a:schemeClr val="tx1">
                    <a:lumMod val="50000"/>
                  </a:schemeClr>
                </a:solidFill>
              </a:endParaRPr>
            </a:p>
          </p:txBody>
        </p:sp>
        <p:sp>
          <p:nvSpPr>
            <p:cNvPr id="36" name="Rettangolo 50">
              <a:extLst>
                <a:ext uri="{FF2B5EF4-FFF2-40B4-BE49-F238E27FC236}">
                  <a16:creationId xmlns:a16="http://schemas.microsoft.com/office/drawing/2014/main" id="{A6A89DAB-FCBB-AEC7-4462-D8C690B264D0}"/>
                </a:ext>
              </a:extLst>
            </p:cNvPr>
            <p:cNvSpPr/>
            <p:nvPr/>
          </p:nvSpPr>
          <p:spPr>
            <a:xfrm>
              <a:off x="7097662" y="5069732"/>
              <a:ext cx="147828" cy="627733"/>
            </a:xfrm>
            <a:prstGeom prst="rect">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dirty="0">
                <a:solidFill>
                  <a:schemeClr val="tx1">
                    <a:lumMod val="50000"/>
                  </a:schemeClr>
                </a:solidFill>
              </a:endParaRPr>
            </a:p>
          </p:txBody>
        </p:sp>
        <p:sp>
          <p:nvSpPr>
            <p:cNvPr id="37" name="Rettangolo 51">
              <a:extLst>
                <a:ext uri="{FF2B5EF4-FFF2-40B4-BE49-F238E27FC236}">
                  <a16:creationId xmlns:a16="http://schemas.microsoft.com/office/drawing/2014/main" id="{89E1B7B1-AFFF-95B1-9F04-9C75C58D9566}"/>
                </a:ext>
              </a:extLst>
            </p:cNvPr>
            <p:cNvSpPr/>
            <p:nvPr/>
          </p:nvSpPr>
          <p:spPr>
            <a:xfrm>
              <a:off x="7281809" y="5069732"/>
              <a:ext cx="87070" cy="627733"/>
            </a:xfrm>
            <a:prstGeom prst="rect">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dirty="0">
                <a:solidFill>
                  <a:schemeClr val="tx1">
                    <a:lumMod val="50000"/>
                  </a:schemeClr>
                </a:solidFill>
              </a:endParaRPr>
            </a:p>
          </p:txBody>
        </p:sp>
      </p:grpSp>
      <p:sp>
        <p:nvSpPr>
          <p:cNvPr id="38" name="Rectangle: Rounded Corners 9">
            <a:extLst>
              <a:ext uri="{FF2B5EF4-FFF2-40B4-BE49-F238E27FC236}">
                <a16:creationId xmlns:a16="http://schemas.microsoft.com/office/drawing/2014/main" id="{951618E1-A2B7-E67C-58EA-6AD0C4566FF3}"/>
              </a:ext>
            </a:extLst>
          </p:cNvPr>
          <p:cNvSpPr/>
          <p:nvPr/>
        </p:nvSpPr>
        <p:spPr>
          <a:xfrm>
            <a:off x="6019266" y="3991271"/>
            <a:ext cx="447521" cy="4529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solidFill>
                  <a:schemeClr val="tx1">
                    <a:lumMod val="50000"/>
                  </a:schemeClr>
                </a:solidFill>
              </a:rPr>
              <a:t>1.</a:t>
            </a:r>
            <a:endParaRPr lang="en-GB" sz="1400" b="1" dirty="0">
              <a:solidFill>
                <a:schemeClr val="tx1">
                  <a:lumMod val="50000"/>
                </a:schemeClr>
              </a:solidFill>
            </a:endParaRPr>
          </a:p>
        </p:txBody>
      </p:sp>
      <p:cxnSp>
        <p:nvCxnSpPr>
          <p:cNvPr id="39" name="Straight Arrow Connector 42">
            <a:extLst>
              <a:ext uri="{FF2B5EF4-FFF2-40B4-BE49-F238E27FC236}">
                <a16:creationId xmlns:a16="http://schemas.microsoft.com/office/drawing/2014/main" id="{E00B902C-BDBB-F017-51DF-7A8A89D95718}"/>
              </a:ext>
            </a:extLst>
          </p:cNvPr>
          <p:cNvCxnSpPr>
            <a:cxnSpLocks/>
            <a:stCxn id="11" idx="2"/>
            <a:endCxn id="14" idx="3"/>
          </p:cNvCxnSpPr>
          <p:nvPr/>
        </p:nvCxnSpPr>
        <p:spPr>
          <a:xfrm flipH="1">
            <a:off x="6075235" y="3685271"/>
            <a:ext cx="3803997" cy="929490"/>
          </a:xfrm>
          <a:prstGeom prst="straightConnector1">
            <a:avLst/>
          </a:prstGeom>
          <a:ln w="19050" cap="rnd">
            <a:solidFill>
              <a:schemeClr val="tx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Rounded Corners 9">
            <a:extLst>
              <a:ext uri="{FF2B5EF4-FFF2-40B4-BE49-F238E27FC236}">
                <a16:creationId xmlns:a16="http://schemas.microsoft.com/office/drawing/2014/main" id="{58268CC3-96A0-7AF1-AD45-59945A4819C0}"/>
              </a:ext>
            </a:extLst>
          </p:cNvPr>
          <p:cNvSpPr/>
          <p:nvPr/>
        </p:nvSpPr>
        <p:spPr>
          <a:xfrm>
            <a:off x="6356386" y="4126544"/>
            <a:ext cx="447521" cy="44062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solidFill>
                  <a:schemeClr val="tx1">
                    <a:lumMod val="50000"/>
                  </a:schemeClr>
                </a:solidFill>
              </a:rPr>
              <a:t>2.</a:t>
            </a:r>
            <a:endParaRPr lang="en-GB" sz="1400" b="1" dirty="0">
              <a:solidFill>
                <a:schemeClr val="tx1">
                  <a:lumMod val="50000"/>
                </a:schemeClr>
              </a:solidFill>
            </a:endParaRPr>
          </a:p>
        </p:txBody>
      </p:sp>
      <p:sp>
        <p:nvSpPr>
          <p:cNvPr id="41" name="Rectangle: Rounded Corners 9">
            <a:extLst>
              <a:ext uri="{FF2B5EF4-FFF2-40B4-BE49-F238E27FC236}">
                <a16:creationId xmlns:a16="http://schemas.microsoft.com/office/drawing/2014/main" id="{01E73F15-71AF-95E7-A658-35117032333A}"/>
              </a:ext>
            </a:extLst>
          </p:cNvPr>
          <p:cNvSpPr/>
          <p:nvPr/>
        </p:nvSpPr>
        <p:spPr>
          <a:xfrm>
            <a:off x="6826648" y="4263360"/>
            <a:ext cx="447521" cy="4529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solidFill>
                  <a:schemeClr val="tx1">
                    <a:lumMod val="50000"/>
                  </a:schemeClr>
                </a:solidFill>
              </a:rPr>
              <a:t>3.</a:t>
            </a:r>
            <a:endParaRPr lang="en-GB" sz="1400" b="1" dirty="0">
              <a:solidFill>
                <a:schemeClr val="tx1">
                  <a:lumMod val="50000"/>
                </a:schemeClr>
              </a:solidFill>
            </a:endParaRPr>
          </a:p>
        </p:txBody>
      </p:sp>
      <p:sp>
        <p:nvSpPr>
          <p:cNvPr id="42" name="Subtitle 2">
            <a:extLst>
              <a:ext uri="{FF2B5EF4-FFF2-40B4-BE49-F238E27FC236}">
                <a16:creationId xmlns:a16="http://schemas.microsoft.com/office/drawing/2014/main" id="{CDF9F6FE-525C-5160-FEF7-BB908B9DCD24}"/>
              </a:ext>
            </a:extLst>
          </p:cNvPr>
          <p:cNvSpPr txBox="1">
            <a:spLocks/>
          </p:cNvSpPr>
          <p:nvPr/>
        </p:nvSpPr>
        <p:spPr>
          <a:xfrm>
            <a:off x="456815" y="1826646"/>
            <a:ext cx="1886033" cy="3984913"/>
          </a:xfrm>
          <a:prstGeom prst="rect">
            <a:avLst/>
          </a:prstGeom>
          <a:ln>
            <a:solidFill>
              <a:schemeClr val="tx1">
                <a:lumMod val="50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AutoNum type="arabicPeriod"/>
            </a:pPr>
            <a:r>
              <a:rPr lang="it-IT" sz="1200" dirty="0">
                <a:solidFill>
                  <a:schemeClr val="tx1">
                    <a:lumMod val="50000"/>
                  </a:schemeClr>
                </a:solidFill>
                <a:latin typeface="+mn-lt"/>
              </a:rPr>
              <a:t>Exchange of information on technical specifications of both the prefab panel and the specific components to be integrated in it.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r>
              <a:rPr lang="it-IT" sz="1200" dirty="0">
                <a:solidFill>
                  <a:schemeClr val="tx1">
                    <a:lumMod val="50000"/>
                  </a:schemeClr>
                </a:solidFill>
                <a:latin typeface="+mn-lt"/>
              </a:rPr>
              <a:t>Exchange of information on the level of innovation to be added to the components to be integrated with the panel. On the other sides the solution providers express their limitations.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r>
              <a:rPr lang="it-IT" sz="1200" dirty="0">
                <a:solidFill>
                  <a:schemeClr val="tx1">
                    <a:lumMod val="50000"/>
                  </a:schemeClr>
                </a:solidFill>
                <a:latin typeface="+mn-lt"/>
              </a:rPr>
              <a:t>Communication about any relevant on-site constraints or peculiar characteristics.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p:txBody>
      </p:sp>
      <p:sp>
        <p:nvSpPr>
          <p:cNvPr id="43" name="Subtitle 2">
            <a:extLst>
              <a:ext uri="{FF2B5EF4-FFF2-40B4-BE49-F238E27FC236}">
                <a16:creationId xmlns:a16="http://schemas.microsoft.com/office/drawing/2014/main" id="{BCEDDF3A-C60E-3BF8-037F-C63317151AB5}"/>
              </a:ext>
            </a:extLst>
          </p:cNvPr>
          <p:cNvSpPr txBox="1">
            <a:spLocks/>
          </p:cNvSpPr>
          <p:nvPr/>
        </p:nvSpPr>
        <p:spPr>
          <a:xfrm>
            <a:off x="7572269" y="2042596"/>
            <a:ext cx="3449281"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200" dirty="0">
                <a:solidFill>
                  <a:schemeClr val="tx1">
                    <a:lumMod val="50000"/>
                  </a:schemeClr>
                </a:solidFill>
                <a:latin typeface="+mn-lt"/>
              </a:rPr>
              <a:t>He manages the relationships with the client, the contracts, finance and incentives and the project risks.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p:txBody>
      </p:sp>
      <p:sp>
        <p:nvSpPr>
          <p:cNvPr id="44" name="Subtitle 2">
            <a:extLst>
              <a:ext uri="{FF2B5EF4-FFF2-40B4-BE49-F238E27FC236}">
                <a16:creationId xmlns:a16="http://schemas.microsoft.com/office/drawing/2014/main" id="{7E356285-C852-A840-8DE8-BB858EBAED83}"/>
              </a:ext>
            </a:extLst>
          </p:cNvPr>
          <p:cNvSpPr txBox="1">
            <a:spLocks/>
          </p:cNvSpPr>
          <p:nvPr/>
        </p:nvSpPr>
        <p:spPr>
          <a:xfrm>
            <a:off x="2529766" y="2679239"/>
            <a:ext cx="1565716"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buNone/>
            </a:pPr>
            <a:r>
              <a:rPr lang="it-IT" sz="1200" dirty="0">
                <a:solidFill>
                  <a:schemeClr val="tx1">
                    <a:lumMod val="50000"/>
                  </a:schemeClr>
                </a:solidFill>
                <a:latin typeface="+mn-lt"/>
              </a:rPr>
              <a:t>He coordinates the project (requirements, time, permits, administratives acts and relationships with integrator and experts)</a:t>
            </a:r>
          </a:p>
          <a:p>
            <a:pPr algn="r">
              <a:spcBef>
                <a:spcPts val="0"/>
              </a:spcBef>
              <a:buAutoNum type="arabicPeriod"/>
            </a:pPr>
            <a:endParaRPr lang="it-IT" sz="1200" dirty="0">
              <a:solidFill>
                <a:schemeClr val="tx1">
                  <a:lumMod val="50000"/>
                </a:schemeClr>
              </a:solidFill>
              <a:latin typeface="+mn-lt"/>
            </a:endParaRPr>
          </a:p>
          <a:p>
            <a:pPr algn="r">
              <a:spcBef>
                <a:spcPts val="0"/>
              </a:spcBef>
              <a:buAutoNum type="arabicPeriod"/>
            </a:pPr>
            <a:endParaRPr lang="it-IT" sz="1200" dirty="0">
              <a:solidFill>
                <a:schemeClr val="tx1">
                  <a:lumMod val="50000"/>
                </a:schemeClr>
              </a:solidFill>
              <a:latin typeface="+mn-lt"/>
            </a:endParaRPr>
          </a:p>
        </p:txBody>
      </p:sp>
      <p:sp>
        <p:nvSpPr>
          <p:cNvPr id="45" name="Subtitle 2">
            <a:extLst>
              <a:ext uri="{FF2B5EF4-FFF2-40B4-BE49-F238E27FC236}">
                <a16:creationId xmlns:a16="http://schemas.microsoft.com/office/drawing/2014/main" id="{0098C123-6773-2F2D-97D7-D228F4925667}"/>
              </a:ext>
            </a:extLst>
          </p:cNvPr>
          <p:cNvSpPr txBox="1">
            <a:spLocks/>
          </p:cNvSpPr>
          <p:nvPr/>
        </p:nvSpPr>
        <p:spPr>
          <a:xfrm>
            <a:off x="3188696" y="5010192"/>
            <a:ext cx="1612155"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200" dirty="0">
                <a:solidFill>
                  <a:schemeClr val="tx1">
                    <a:lumMod val="50000"/>
                  </a:schemeClr>
                </a:solidFill>
                <a:latin typeface="+mn-lt"/>
              </a:rPr>
              <a:t>They deal with specific analysis (architectural surveys, seismic and geothermal checks, energetic certifications)</a:t>
            </a:r>
          </a:p>
          <a:p>
            <a:pPr marL="0" indent="0">
              <a:spcBef>
                <a:spcPts val="0"/>
              </a:spcBef>
              <a:buNone/>
            </a:pPr>
            <a:r>
              <a:rPr lang="it-IT" sz="1200" dirty="0">
                <a:solidFill>
                  <a:schemeClr val="tx1">
                    <a:lumMod val="50000"/>
                  </a:schemeClr>
                </a:solidFill>
                <a:latin typeface="+mn-lt"/>
              </a:rPr>
              <a:t>and they design traditional elements.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p:txBody>
      </p:sp>
      <p:sp>
        <p:nvSpPr>
          <p:cNvPr id="46" name="Subtitle 2">
            <a:extLst>
              <a:ext uri="{FF2B5EF4-FFF2-40B4-BE49-F238E27FC236}">
                <a16:creationId xmlns:a16="http://schemas.microsoft.com/office/drawing/2014/main" id="{1DB34FF8-4AA3-9A4F-8433-446F835A0378}"/>
              </a:ext>
            </a:extLst>
          </p:cNvPr>
          <p:cNvSpPr txBox="1">
            <a:spLocks/>
          </p:cNvSpPr>
          <p:nvPr/>
        </p:nvSpPr>
        <p:spPr>
          <a:xfrm>
            <a:off x="4843492" y="5010192"/>
            <a:ext cx="1805281"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200" dirty="0">
                <a:solidFill>
                  <a:schemeClr val="tx1">
                    <a:lumMod val="50000"/>
                  </a:schemeClr>
                </a:solidFill>
                <a:latin typeface="+mn-lt"/>
              </a:rPr>
              <a:t>He’s chosen by the panel manufacturer thanks to his competences. He coordinates the needed innovation by collecting instances from different subjects. </a:t>
            </a:r>
          </a:p>
          <a:p>
            <a:pPr>
              <a:spcBef>
                <a:spcPts val="0"/>
              </a:spcBef>
              <a:buAutoNum type="arabicPeriod"/>
            </a:pPr>
            <a:endParaRPr lang="it-IT" sz="1200" dirty="0">
              <a:solidFill>
                <a:schemeClr val="tx1">
                  <a:lumMod val="50000"/>
                </a:schemeClr>
              </a:solidFill>
              <a:latin typeface="+mn-lt"/>
            </a:endParaRPr>
          </a:p>
          <a:p>
            <a:pPr>
              <a:spcBef>
                <a:spcPts val="0"/>
              </a:spcBef>
              <a:buAutoNum type="arabicPeriod"/>
            </a:pPr>
            <a:endParaRPr lang="it-IT" sz="1200" dirty="0">
              <a:solidFill>
                <a:schemeClr val="tx1">
                  <a:lumMod val="50000"/>
                </a:schemeClr>
              </a:solidFill>
              <a:latin typeface="+mn-lt"/>
            </a:endParaRPr>
          </a:p>
        </p:txBody>
      </p:sp>
      <p:sp>
        <p:nvSpPr>
          <p:cNvPr id="47" name="Subtitle 2">
            <a:extLst>
              <a:ext uri="{FF2B5EF4-FFF2-40B4-BE49-F238E27FC236}">
                <a16:creationId xmlns:a16="http://schemas.microsoft.com/office/drawing/2014/main" id="{9157701C-8B2E-AFC1-2F93-268EBA686DF4}"/>
              </a:ext>
            </a:extLst>
          </p:cNvPr>
          <p:cNvSpPr txBox="1">
            <a:spLocks/>
          </p:cNvSpPr>
          <p:nvPr/>
        </p:nvSpPr>
        <p:spPr>
          <a:xfrm>
            <a:off x="5320448" y="2787709"/>
            <a:ext cx="1918965"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buNone/>
            </a:pPr>
            <a:r>
              <a:rPr lang="it-IT" sz="1200" dirty="0">
                <a:solidFill>
                  <a:schemeClr val="tx1">
                    <a:lumMod val="50000"/>
                  </a:schemeClr>
                </a:solidFill>
                <a:latin typeface="+mn-lt"/>
              </a:rPr>
              <a:t>He develops prefab industrialized elements by integrating different components  </a:t>
            </a:r>
          </a:p>
          <a:p>
            <a:pPr algn="r">
              <a:spcBef>
                <a:spcPts val="0"/>
              </a:spcBef>
              <a:buAutoNum type="arabicPeriod"/>
            </a:pPr>
            <a:endParaRPr lang="it-IT" sz="1200" dirty="0">
              <a:solidFill>
                <a:schemeClr val="tx1">
                  <a:lumMod val="50000"/>
                </a:schemeClr>
              </a:solidFill>
              <a:latin typeface="+mn-lt"/>
            </a:endParaRPr>
          </a:p>
          <a:p>
            <a:pPr algn="r">
              <a:spcBef>
                <a:spcPts val="0"/>
              </a:spcBef>
              <a:buAutoNum type="arabicPeriod"/>
            </a:pPr>
            <a:endParaRPr lang="it-IT" sz="1200" dirty="0">
              <a:solidFill>
                <a:schemeClr val="tx1">
                  <a:lumMod val="50000"/>
                </a:schemeClr>
              </a:solidFill>
              <a:latin typeface="+mn-lt"/>
            </a:endParaRPr>
          </a:p>
        </p:txBody>
      </p:sp>
      <p:sp>
        <p:nvSpPr>
          <p:cNvPr id="48" name="Subtitle 2">
            <a:extLst>
              <a:ext uri="{FF2B5EF4-FFF2-40B4-BE49-F238E27FC236}">
                <a16:creationId xmlns:a16="http://schemas.microsoft.com/office/drawing/2014/main" id="{3EBED04A-5D5F-0FC4-E01E-F56BA6EB8774}"/>
              </a:ext>
            </a:extLst>
          </p:cNvPr>
          <p:cNvSpPr txBox="1">
            <a:spLocks/>
          </p:cNvSpPr>
          <p:nvPr/>
        </p:nvSpPr>
        <p:spPr>
          <a:xfrm>
            <a:off x="10748137" y="2809074"/>
            <a:ext cx="1196131"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200" dirty="0">
                <a:solidFill>
                  <a:schemeClr val="tx1">
                    <a:lumMod val="50000"/>
                  </a:schemeClr>
                </a:solidFill>
                <a:latin typeface="+mn-lt"/>
              </a:rPr>
              <a:t>One-stop-shop contractor who manages construction time, costs, site,  installations</a:t>
            </a:r>
          </a:p>
          <a:p>
            <a:pPr>
              <a:spcBef>
                <a:spcPts val="0"/>
              </a:spcBef>
              <a:buAutoNum type="arabicPeriod"/>
            </a:pPr>
            <a:endParaRPr lang="it-IT" sz="1200" dirty="0">
              <a:solidFill>
                <a:schemeClr val="tx1">
                  <a:lumMod val="50000"/>
                </a:schemeClr>
              </a:solidFill>
              <a:latin typeface="+mn-lt"/>
            </a:endParaRPr>
          </a:p>
        </p:txBody>
      </p:sp>
      <p:sp>
        <p:nvSpPr>
          <p:cNvPr id="49" name="Subtitle 2">
            <a:extLst>
              <a:ext uri="{FF2B5EF4-FFF2-40B4-BE49-F238E27FC236}">
                <a16:creationId xmlns:a16="http://schemas.microsoft.com/office/drawing/2014/main" id="{4FA275E0-1F12-8344-99E7-1FE1D735AE8E}"/>
              </a:ext>
            </a:extLst>
          </p:cNvPr>
          <p:cNvSpPr txBox="1">
            <a:spLocks/>
          </p:cNvSpPr>
          <p:nvPr/>
        </p:nvSpPr>
        <p:spPr>
          <a:xfrm>
            <a:off x="10748137" y="4180081"/>
            <a:ext cx="1214246" cy="16027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it-IT" sz="2800" b="0" i="0" u="none" strike="noStrike" kern="1200" cap="none" dirty="0" smtClean="0">
                <a:solidFill>
                  <a:srgbClr val="033F51"/>
                </a:solidFill>
                <a:latin typeface="DIN Next Rounded LT Pro" panose="020F0503020203050203" pitchFamily="34" charset="77"/>
                <a:ea typeface="+mn-ea"/>
                <a:cs typeface="+mn-cs"/>
                <a:sym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33F51"/>
                </a:solidFill>
                <a:latin typeface="DIN Next Rounded LT Pro Light" panose="020F030302020305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33F51"/>
                </a:solidFill>
                <a:latin typeface="DIN Next Rounded LT Pro Light" panose="020F030302020305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33F51"/>
                </a:solidFill>
                <a:latin typeface="DIN Next Rounded LT Pro Light" panose="020F030302020305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200" dirty="0">
                <a:solidFill>
                  <a:schemeClr val="tx1">
                    <a:lumMod val="50000"/>
                  </a:schemeClr>
                </a:solidFill>
                <a:latin typeface="+mn-lt"/>
              </a:rPr>
              <a:t>Suppliers of both the panel manufacturer and the construction company for off-site and on-site works. </a:t>
            </a:r>
          </a:p>
          <a:p>
            <a:pPr>
              <a:spcBef>
                <a:spcPts val="0"/>
              </a:spcBef>
              <a:buAutoNum type="arabicPeriod"/>
            </a:pPr>
            <a:endParaRPr lang="it-IT" sz="1200" dirty="0">
              <a:solidFill>
                <a:schemeClr val="tx1">
                  <a:lumMod val="50000"/>
                </a:schemeClr>
              </a:solidFill>
              <a:latin typeface="+mn-lt"/>
            </a:endParaRPr>
          </a:p>
        </p:txBody>
      </p:sp>
    </p:spTree>
    <p:extLst>
      <p:ext uri="{BB962C8B-B14F-4D97-AF65-F5344CB8AC3E}">
        <p14:creationId xmlns:p14="http://schemas.microsoft.com/office/powerpoint/2010/main" val="140070493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8BD2E34C-FBAB-0A6A-4525-78396D10043E}"/>
              </a:ext>
            </a:extLst>
          </p:cNvPr>
          <p:cNvSpPr>
            <a:spLocks noGrp="1"/>
          </p:cNvSpPr>
          <p:nvPr>
            <p:ph type="sldNum" sz="quarter" idx="2"/>
          </p:nvPr>
        </p:nvSpPr>
        <p:spPr/>
        <p:txBody>
          <a:bodyPr/>
          <a:lstStyle/>
          <a:p>
            <a:fld id="{D2D4539B-BA63-4FDA-A896-DC7ADFB317E4}" type="slidenum">
              <a:rPr lang="fr-FR" smtClean="0"/>
              <a:pPr/>
              <a:t>5</a:t>
            </a:fld>
            <a:endParaRPr lang="fr-FR" dirty="0"/>
          </a:p>
        </p:txBody>
      </p:sp>
      <p:sp>
        <p:nvSpPr>
          <p:cNvPr id="3" name="Titolo 2">
            <a:extLst>
              <a:ext uri="{FF2B5EF4-FFF2-40B4-BE49-F238E27FC236}">
                <a16:creationId xmlns:a16="http://schemas.microsoft.com/office/drawing/2014/main" id="{1C4A8D2D-AA08-A148-FB73-079002A39CF1}"/>
              </a:ext>
            </a:extLst>
          </p:cNvPr>
          <p:cNvSpPr>
            <a:spLocks noGrp="1"/>
          </p:cNvSpPr>
          <p:nvPr>
            <p:ph type="title"/>
          </p:nvPr>
        </p:nvSpPr>
        <p:spPr/>
        <p:txBody>
          <a:bodyPr/>
          <a:lstStyle/>
          <a:p>
            <a:r>
              <a:rPr lang="en-US" sz="3200" dirty="0"/>
              <a:t>Proposal - The final choice of the criteria</a:t>
            </a:r>
            <a:endParaRPr lang="it-IT" sz="3200" dirty="0"/>
          </a:p>
        </p:txBody>
      </p:sp>
      <p:pic>
        <p:nvPicPr>
          <p:cNvPr id="4" name="Picture 4">
            <a:extLst>
              <a:ext uri="{FF2B5EF4-FFF2-40B4-BE49-F238E27FC236}">
                <a16:creationId xmlns:a16="http://schemas.microsoft.com/office/drawing/2014/main" id="{6AE952D6-8E36-C836-F144-20C3DD052758}"/>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0263546" y="221372"/>
            <a:ext cx="787281" cy="5094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7CCCADB8-5564-B275-78B6-1232CA586289}"/>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9237662" y="225430"/>
            <a:ext cx="872160" cy="50697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81C2E4BC-6014-19DF-2DFA-7C6FE9969E9C}"/>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324746" y="212924"/>
            <a:ext cx="787281" cy="5084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809EEEF6-DD4A-3AC8-6280-19F1512C61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04551" y="211873"/>
            <a:ext cx="787280" cy="508481"/>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texte 3">
            <a:extLst>
              <a:ext uri="{FF2B5EF4-FFF2-40B4-BE49-F238E27FC236}">
                <a16:creationId xmlns:a16="http://schemas.microsoft.com/office/drawing/2014/main" id="{DE4F67F0-B575-2287-2516-F9AE33990999}"/>
              </a:ext>
            </a:extLst>
          </p:cNvPr>
          <p:cNvSpPr txBox="1">
            <a:spLocks/>
          </p:cNvSpPr>
          <p:nvPr/>
        </p:nvSpPr>
        <p:spPr>
          <a:xfrm>
            <a:off x="479425" y="1070906"/>
            <a:ext cx="11095541" cy="5343446"/>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fr-FR" dirty="0"/>
          </a:p>
        </p:txBody>
      </p:sp>
      <p:graphicFrame>
        <p:nvGraphicFramePr>
          <p:cNvPr id="9" name="Tableau 8">
            <a:extLst>
              <a:ext uri="{FF2B5EF4-FFF2-40B4-BE49-F238E27FC236}">
                <a16:creationId xmlns:a16="http://schemas.microsoft.com/office/drawing/2014/main" id="{51F3C494-47E2-1621-1215-05E273D2BABC}"/>
              </a:ext>
            </a:extLst>
          </p:cNvPr>
          <p:cNvGraphicFramePr>
            <a:graphicFrameLocks noGrp="1"/>
          </p:cNvGraphicFramePr>
          <p:nvPr>
            <p:extLst>
              <p:ext uri="{D42A27DB-BD31-4B8C-83A1-F6EECF244321}">
                <p14:modId xmlns:p14="http://schemas.microsoft.com/office/powerpoint/2010/main" val="3596891728"/>
              </p:ext>
            </p:extLst>
          </p:nvPr>
        </p:nvGraphicFramePr>
        <p:xfrm>
          <a:off x="385747" y="1125109"/>
          <a:ext cx="11434778" cy="5241869"/>
        </p:xfrm>
        <a:graphic>
          <a:graphicData uri="http://schemas.openxmlformats.org/drawingml/2006/table">
            <a:tbl>
              <a:tblPr/>
              <a:tblGrid>
                <a:gridCol w="422511">
                  <a:extLst>
                    <a:ext uri="{9D8B030D-6E8A-4147-A177-3AD203B41FA5}">
                      <a16:colId xmlns:a16="http://schemas.microsoft.com/office/drawing/2014/main" val="932643082"/>
                    </a:ext>
                  </a:extLst>
                </a:gridCol>
                <a:gridCol w="1878827">
                  <a:extLst>
                    <a:ext uri="{9D8B030D-6E8A-4147-A177-3AD203B41FA5}">
                      <a16:colId xmlns:a16="http://schemas.microsoft.com/office/drawing/2014/main" val="3096642866"/>
                    </a:ext>
                  </a:extLst>
                </a:gridCol>
                <a:gridCol w="2786777">
                  <a:extLst>
                    <a:ext uri="{9D8B030D-6E8A-4147-A177-3AD203B41FA5}">
                      <a16:colId xmlns:a16="http://schemas.microsoft.com/office/drawing/2014/main" val="3186361539"/>
                    </a:ext>
                  </a:extLst>
                </a:gridCol>
                <a:gridCol w="242720">
                  <a:extLst>
                    <a:ext uri="{9D8B030D-6E8A-4147-A177-3AD203B41FA5}">
                      <a16:colId xmlns:a16="http://schemas.microsoft.com/office/drawing/2014/main" val="1787428643"/>
                    </a:ext>
                  </a:extLst>
                </a:gridCol>
                <a:gridCol w="242720">
                  <a:extLst>
                    <a:ext uri="{9D8B030D-6E8A-4147-A177-3AD203B41FA5}">
                      <a16:colId xmlns:a16="http://schemas.microsoft.com/office/drawing/2014/main" val="2355712313"/>
                    </a:ext>
                  </a:extLst>
                </a:gridCol>
                <a:gridCol w="1743984">
                  <a:extLst>
                    <a:ext uri="{9D8B030D-6E8A-4147-A177-3AD203B41FA5}">
                      <a16:colId xmlns:a16="http://schemas.microsoft.com/office/drawing/2014/main" val="589106349"/>
                    </a:ext>
                  </a:extLst>
                </a:gridCol>
                <a:gridCol w="4117239">
                  <a:extLst>
                    <a:ext uri="{9D8B030D-6E8A-4147-A177-3AD203B41FA5}">
                      <a16:colId xmlns:a16="http://schemas.microsoft.com/office/drawing/2014/main" val="388092762"/>
                    </a:ext>
                  </a:extLst>
                </a:gridCol>
              </a:tblGrid>
              <a:tr h="163076">
                <a:tc>
                  <a:txBody>
                    <a:bodyPr/>
                    <a:lstStyle/>
                    <a:p>
                      <a:pPr algn="ctr" fontAlgn="ctr"/>
                      <a:r>
                        <a:rPr lang="fr-FR" sz="700" b="1" i="0" u="none" strike="noStrike">
                          <a:solidFill>
                            <a:srgbClr val="000000"/>
                          </a:solidFill>
                          <a:effectLst/>
                          <a:latin typeface="Calibri" panose="020F0502020204030204" pitchFamily="34" charset="0"/>
                        </a:rPr>
                        <a:t>Criteria #</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Criteria nam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GF Definitio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WP3</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WP4</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BW_Title proposal</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000000"/>
                          </a:solidFill>
                          <a:effectLst/>
                          <a:latin typeface="Calibri" panose="020F0502020204030204" pitchFamily="34" charset="0"/>
                        </a:rPr>
                        <a:t>BW_Descriptio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5393382"/>
                  </a:ext>
                </a:extLst>
              </a:tr>
              <a:tr h="287881">
                <a:tc>
                  <a:txBody>
                    <a:bodyPr/>
                    <a:lstStyle/>
                    <a:p>
                      <a:pPr algn="ctr" fontAlgn="ctr"/>
                      <a:r>
                        <a:rPr lang="fr-FR" sz="1000" b="1" i="0" u="none" strike="noStrike">
                          <a:solidFill>
                            <a:srgbClr val="000000"/>
                          </a:solidFill>
                          <a:effectLst/>
                          <a:latin typeface="Calibri" panose="020F0502020204030204" pitchFamily="34" charset="0"/>
                        </a:rPr>
                        <a:t>1</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Industrialization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Level of company performance on industrialized projects</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General feeling</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Industrialization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4 - Mindset of the company in terms of industrial production (production management and quality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49072925"/>
                  </a:ext>
                </a:extLst>
              </a:tr>
              <a:tr h="217496">
                <a:tc>
                  <a:txBody>
                    <a:bodyPr/>
                    <a:lstStyle/>
                    <a:p>
                      <a:pPr algn="ctr" fontAlgn="ctr"/>
                      <a:r>
                        <a:rPr lang="fr-FR" sz="1000" b="1" i="0" u="none" strike="noStrike">
                          <a:solidFill>
                            <a:srgbClr val="000000"/>
                          </a:solidFill>
                          <a:effectLst/>
                          <a:latin typeface="Calibri" panose="020F0502020204030204" pitchFamily="34" charset="0"/>
                        </a:rPr>
                        <a:t>2</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Large Marke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The company's ability to respond to large-scale project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Capac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4 - How big is the maximum output units per time period</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797743"/>
                  </a:ext>
                </a:extLst>
              </a:tr>
              <a:tr h="287881">
                <a:tc>
                  <a:txBody>
                    <a:bodyPr/>
                    <a:lstStyle/>
                    <a:p>
                      <a:pPr algn="ctr" fontAlgn="ctr"/>
                      <a:r>
                        <a:rPr lang="fr-FR" sz="1000" b="1" i="0" u="none" strike="noStrike">
                          <a:solidFill>
                            <a:srgbClr val="000000"/>
                          </a:solidFill>
                          <a:effectLst/>
                          <a:latin typeface="Calibri" panose="020F0502020204030204" pitchFamily="34" charset="0"/>
                        </a:rPr>
                        <a:t>3</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Exploitaiton ./ Maintenance / Performanc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Company's ability to ensure these elements over time for their products (WP4) or projects (WP3)​</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Qual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WP4 - How well the product performs its intended functio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4659885"/>
                  </a:ext>
                </a:extLst>
              </a:tr>
              <a:tr h="567078">
                <a:tc>
                  <a:txBody>
                    <a:bodyPr/>
                    <a:lstStyle/>
                    <a:p>
                      <a:pPr algn="ctr" fontAlgn="ctr"/>
                      <a:r>
                        <a:rPr lang="fr-FR" sz="1000" b="1" i="0" u="none" strike="noStrike">
                          <a:solidFill>
                            <a:srgbClr val="000000"/>
                          </a:solidFill>
                          <a:effectLst/>
                          <a:latin typeface="Calibri" panose="020F0502020204030204" pitchFamily="34" charset="0"/>
                        </a:rPr>
                        <a:t>4</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Work on site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Company's level of performance in on-site work​</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company's level of competence in managing and carrying out work on site (Much more precise than "Project Control")</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Ability to lead construction work on site, with care about resident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Work on site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4 - Ability to deliver the product according to the integrator needs and support him in case of on-site issu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74412399"/>
                  </a:ext>
                </a:extLst>
              </a:tr>
              <a:tr h="714099">
                <a:tc>
                  <a:txBody>
                    <a:bodyPr/>
                    <a:lstStyle/>
                    <a:p>
                      <a:pPr algn="ctr" fontAlgn="ctr"/>
                      <a:r>
                        <a:rPr lang="fr-FR" sz="1000" b="1" i="0" u="none" strike="noStrike">
                          <a:solidFill>
                            <a:srgbClr val="000000"/>
                          </a:solidFill>
                          <a:effectLst/>
                          <a:latin typeface="Calibri" panose="020F0502020204030204" pitchFamily="34" charset="0"/>
                        </a:rPr>
                        <a:t>5</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ject Control</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Company's level of performance in general control of a project (ability to be a mandatory)​</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Ability to lead project, with mandatory process (with municipality for example), coordination of team (architect, engineering firm, M&amp;P...)</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ject managemen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 - Ability to manage the whole project : public market tender, coordination of the players (offer and demand side + residents), schedule compliance, problem solving and customer satisfaction</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WP4 - Schedule compliance, problem solving and customer satisfactio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6608355"/>
                  </a:ext>
                </a:extLst>
              </a:tr>
              <a:tr h="287881">
                <a:tc>
                  <a:txBody>
                    <a:bodyPr/>
                    <a:lstStyle/>
                    <a:p>
                      <a:pPr algn="ctr" fontAlgn="ctr"/>
                      <a:r>
                        <a:rPr lang="fr-FR" sz="1000" b="1" i="0" u="none" strike="noStrike">
                          <a:solidFill>
                            <a:srgbClr val="000000"/>
                          </a:solidFill>
                          <a:effectLst/>
                          <a:latin typeface="Calibri" panose="020F0502020204030204" pitchFamily="34" charset="0"/>
                        </a:rPr>
                        <a:t>6</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Digital Matur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Company performance level in the use of digital elements (3D Scan, BIM, etc.)​</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Digital Matur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4 - How fluent is the digital data flow through all the steps of the product life (diagnostic, design, manufacturing, assembly, exploitation, maintenance and end of lif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66613238"/>
                  </a:ext>
                </a:extLst>
              </a:tr>
              <a:tr h="567078">
                <a:tc>
                  <a:txBody>
                    <a:bodyPr/>
                    <a:lstStyle/>
                    <a:p>
                      <a:pPr algn="ctr" fontAlgn="ctr"/>
                      <a:r>
                        <a:rPr lang="fr-FR" sz="1000" b="1" i="0" u="none" strike="noStrike">
                          <a:solidFill>
                            <a:srgbClr val="000000"/>
                          </a:solidFill>
                          <a:effectLst/>
                          <a:latin typeface="Calibri" panose="020F0502020204030204" pitchFamily="34" charset="0"/>
                        </a:rPr>
                        <a:t>7</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 approach - On-Sit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Performance level of the product approach for traditional solutions ​</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Ability to integrate into offers &amp; pricing (for integrators) traditional product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 approach - Traditional solutions ​</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Question :  Is it because the rettrofits are not done with 100% industrialized solutions that it's important to consider this criteria ?</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3530506"/>
                  </a:ext>
                </a:extLst>
              </a:tr>
              <a:tr h="432480">
                <a:tc>
                  <a:txBody>
                    <a:bodyPr/>
                    <a:lstStyle/>
                    <a:p>
                      <a:pPr algn="ctr" fontAlgn="ctr"/>
                      <a:r>
                        <a:rPr lang="fr-FR" sz="1000" b="1" i="0" u="none" strike="noStrike">
                          <a:solidFill>
                            <a:srgbClr val="000000"/>
                          </a:solidFill>
                          <a:effectLst/>
                          <a:latin typeface="Calibri" panose="020F0502020204030204" pitchFamily="34" charset="0"/>
                        </a:rPr>
                        <a:t>8</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 approach - Off-Sit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Performance level of the product approach for off-site solutions​</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Ability to integrate into offers &amp; pricing off-site solution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 approach - Off-Site solution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3/4 - How mature is the company's product catalog (do they need to start from scratch every time, or do they have a range of products ready?) (% of customisation left to the customer)</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1864055"/>
                  </a:ext>
                </a:extLst>
              </a:tr>
              <a:tr h="714099">
                <a:tc>
                  <a:txBody>
                    <a:bodyPr/>
                    <a:lstStyle/>
                    <a:p>
                      <a:pPr algn="ctr" fontAlgn="ctr"/>
                      <a:r>
                        <a:rPr lang="fr-FR" sz="1000" b="1" i="0" u="none" strike="noStrike">
                          <a:solidFill>
                            <a:srgbClr val="000000"/>
                          </a:solidFill>
                          <a:effectLst/>
                          <a:latin typeface="Calibri" panose="020F0502020204030204" pitchFamily="34" charset="0"/>
                        </a:rPr>
                        <a:t>9</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WP4 Specifity - Cos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Capacity of reducing the cost (out/i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iv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WP4 - output/input labour productivity or move difficult to calculate but more relevant multifactor productivity (for exemple taking into account natural resssources usage, investments, …), to be discussed</a:t>
                      </a:r>
                      <a:br>
                        <a:rPr lang="en-US" sz="700" b="0" i="0" u="none" strike="noStrike">
                          <a:solidFill>
                            <a:srgbClr val="000000"/>
                          </a:solidFill>
                          <a:effectLst/>
                          <a:latin typeface="Calibri" panose="020F0502020204030204" pitchFamily="34" charset="0"/>
                        </a:rPr>
                      </a:br>
                      <a:r>
                        <a:rPr lang="en-US" sz="700" b="0" i="0" u="none" strike="noStrike">
                          <a:solidFill>
                            <a:srgbClr val="000000"/>
                          </a:solidFill>
                          <a:effectLst/>
                          <a:latin typeface="Calibri" panose="020F0502020204030204" pitchFamily="34" charset="0"/>
                        </a:rPr>
                        <a:t>Could also be linked to CO2 emissions</a:t>
                      </a:r>
                      <a:br>
                        <a:rPr lang="en-US" sz="700" b="0" i="0" u="none" strike="noStrike">
                          <a:solidFill>
                            <a:srgbClr val="000000"/>
                          </a:solidFill>
                          <a:effectLst/>
                          <a:latin typeface="Calibri" panose="020F0502020204030204" pitchFamily="34" charset="0"/>
                        </a:rPr>
                      </a:br>
                      <a:endParaRPr lang="en-US" sz="700" b="0" i="0" u="none" strike="noStrike">
                        <a:solidFill>
                          <a:srgbClr val="000000"/>
                        </a:solidFill>
                        <a:effectLst/>
                        <a:latin typeface="Calibri" panose="020F0502020204030204" pitchFamily="34" charset="0"/>
                      </a:endParaRP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9633530"/>
                  </a:ext>
                </a:extLst>
              </a:tr>
              <a:tr h="287881">
                <a:tc>
                  <a:txBody>
                    <a:bodyPr/>
                    <a:lstStyle/>
                    <a:p>
                      <a:pPr algn="ctr" fontAlgn="ctr"/>
                      <a:r>
                        <a:rPr lang="fr-FR" sz="1000" b="1" i="0" u="none" strike="noStrike">
                          <a:solidFill>
                            <a:srgbClr val="000000"/>
                          </a:solidFill>
                          <a:effectLst/>
                          <a:latin typeface="Calibri" panose="020F0502020204030204" pitchFamily="34" charset="0"/>
                        </a:rPr>
                        <a:t>10</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WP4 Specifity - Product Matur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The extent to which this solution has been tried and tested and is mature</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Product Matur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How reliable is the product &gt; mabe double criteria with </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40890"/>
                  </a:ext>
                </a:extLst>
              </a:tr>
              <a:tr h="427058">
                <a:tc>
                  <a:txBody>
                    <a:bodyPr/>
                    <a:lstStyle/>
                    <a:p>
                      <a:pPr algn="ctr" fontAlgn="ctr"/>
                      <a:r>
                        <a:rPr lang="fr-FR" sz="1000" b="1" i="0" u="none" strike="noStrike">
                          <a:solidFill>
                            <a:srgbClr val="000000"/>
                          </a:solidFill>
                          <a:effectLst/>
                          <a:latin typeface="Calibri" panose="020F0502020204030204" pitchFamily="34" charset="0"/>
                        </a:rPr>
                        <a:t>11</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WP4 Specifity - Adaptabil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The level of adaptability of a solution from one type of building to another and the possibility of modifying it "easily" as a result or not</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n</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Adaptabili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How flexible are the company's products in terms of compatibility with different building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7434710"/>
                  </a:ext>
                </a:extLst>
              </a:tr>
              <a:tr h="287881">
                <a:tc>
                  <a:txBody>
                    <a:bodyPr/>
                    <a:lstStyle/>
                    <a:p>
                      <a:pPr algn="ctr" fontAlgn="ctr"/>
                      <a:r>
                        <a:rPr lang="fr-FR" sz="1000" b="1" i="0" u="none" strike="noStrike">
                          <a:solidFill>
                            <a:srgbClr val="000000"/>
                          </a:solidFill>
                          <a:effectLst/>
                          <a:latin typeface="Calibri" panose="020F0502020204030204" pitchFamily="34" charset="0"/>
                        </a:rPr>
                        <a:t>12</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Awareness</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Motivation to answer to projects / ES awareness / willingness to improve …. (YES/NO(&gt;wh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y</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a:solidFill>
                            <a:srgbClr val="000000"/>
                          </a:solidFill>
                          <a:effectLst/>
                          <a:latin typeface="Calibri" panose="020F0502020204030204" pitchFamily="34" charset="0"/>
                        </a:rPr>
                        <a:t>same as GF</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700" b="0" i="0" u="none" strike="noStrike" dirty="0">
                          <a:solidFill>
                            <a:srgbClr val="000000"/>
                          </a:solidFill>
                          <a:effectLst/>
                          <a:latin typeface="Calibri" panose="020F0502020204030204" pitchFamily="34" charset="0"/>
                        </a:rPr>
                        <a:t>same as GF</a:t>
                      </a:r>
                    </a:p>
                  </a:txBody>
                  <a:tcPr marL="3989" marR="3989" marT="3989" marB="2872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180922"/>
                  </a:ext>
                </a:extLst>
              </a:tr>
            </a:tbl>
          </a:graphicData>
        </a:graphic>
      </p:graphicFrame>
    </p:spTree>
    <p:extLst>
      <p:ext uri="{BB962C8B-B14F-4D97-AF65-F5344CB8AC3E}">
        <p14:creationId xmlns:p14="http://schemas.microsoft.com/office/powerpoint/2010/main" val="310904207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CD2F5D9-9BB8-BA5F-89D3-C47D565565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Objet 3" hidden="1">
                        <a:extLst>
                          <a:ext uri="{FF2B5EF4-FFF2-40B4-BE49-F238E27FC236}">
                            <a16:creationId xmlns:a16="http://schemas.microsoft.com/office/drawing/2014/main" id="{ECD2F5D9-9BB8-BA5F-89D3-C47D56556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4CC5F6EA-3BA2-582B-CA64-0414830E86B2}"/>
              </a:ext>
            </a:extLst>
          </p:cNvPr>
          <p:cNvSpPr>
            <a:spLocks noGrp="1"/>
          </p:cNvSpPr>
          <p:nvPr>
            <p:ph type="sldNum" sz="quarter" idx="2"/>
          </p:nvPr>
        </p:nvSpPr>
        <p:spPr/>
        <p:txBody>
          <a:bodyPr/>
          <a:lstStyle/>
          <a:p>
            <a:fld id="{D2D4539B-BA63-4FDA-A896-DC7ADFB317E4}" type="slidenum">
              <a:rPr lang="en-GB" dirty="0" smtClean="0"/>
              <a:pPr/>
              <a:t>6</a:t>
            </a:fld>
            <a:endParaRPr lang="en-GB" dirty="0"/>
          </a:p>
        </p:txBody>
      </p:sp>
      <p:sp>
        <p:nvSpPr>
          <p:cNvPr id="3" name="Titre 2">
            <a:extLst>
              <a:ext uri="{FF2B5EF4-FFF2-40B4-BE49-F238E27FC236}">
                <a16:creationId xmlns:a16="http://schemas.microsoft.com/office/drawing/2014/main" id="{0AF62BE3-7880-A19D-F768-6BA21E4B0E43}"/>
              </a:ext>
            </a:extLst>
          </p:cNvPr>
          <p:cNvSpPr>
            <a:spLocks noGrp="1"/>
          </p:cNvSpPr>
          <p:nvPr>
            <p:ph type="title"/>
          </p:nvPr>
        </p:nvSpPr>
        <p:spPr>
          <a:xfrm>
            <a:off x="850487" y="141197"/>
            <a:ext cx="10970037" cy="912185"/>
          </a:xfrm>
        </p:spPr>
        <p:txBody>
          <a:bodyPr vert="horz"/>
          <a:lstStyle/>
          <a:p>
            <a:r>
              <a:rPr lang="fr-FR" sz="2400" dirty="0">
                <a:solidFill>
                  <a:srgbClr val="00B8C2"/>
                </a:solidFill>
                <a:latin typeface="Avenir Book"/>
                <a:ea typeface="Calibri" panose="020F0502020204030204" pitchFamily="34" charset="0"/>
                <a:cs typeface="+mn-cs"/>
              </a:rPr>
              <a:t>ITALY </a:t>
            </a:r>
            <a:r>
              <a:rPr lang="fr-FR" sz="2400" b="0" cap="all" dirty="0">
                <a:solidFill>
                  <a:srgbClr val="172154"/>
                </a:solidFill>
                <a:latin typeface="Avenir Book"/>
                <a:ea typeface="Avenir Black" panose="020B0803020203020204" pitchFamily="34" charset="0"/>
                <a:cs typeface="Arial"/>
              </a:rPr>
              <a:t>-</a:t>
            </a:r>
            <a:r>
              <a:rPr lang="fr-FR" sz="2400" dirty="0">
                <a:solidFill>
                  <a:srgbClr val="00B8C2"/>
                </a:solidFill>
                <a:latin typeface="Avenir Book"/>
                <a:ea typeface="Calibri" panose="020F0502020204030204" pitchFamily="34" charset="0"/>
                <a:cs typeface="+mn-cs"/>
              </a:rPr>
              <a:t> </a:t>
            </a:r>
            <a:r>
              <a:rPr lang="en-GB" sz="2400" b="0" cap="all" dirty="0">
                <a:solidFill>
                  <a:srgbClr val="172154"/>
                </a:solidFill>
                <a:latin typeface="Avenir Book"/>
                <a:ea typeface="Avenir Black" panose="020B0803020203020204" pitchFamily="34" charset="0"/>
                <a:cs typeface="Arial"/>
              </a:rPr>
              <a:t>Criteria SELECTION</a:t>
            </a:r>
          </a:p>
        </p:txBody>
      </p:sp>
      <p:sp>
        <p:nvSpPr>
          <p:cNvPr id="20" name="Espace réservé du texte 3">
            <a:extLst>
              <a:ext uri="{FF2B5EF4-FFF2-40B4-BE49-F238E27FC236}">
                <a16:creationId xmlns:a16="http://schemas.microsoft.com/office/drawing/2014/main" id="{DD385A76-5405-2C37-BE71-F4929D332C56}"/>
              </a:ext>
            </a:extLst>
          </p:cNvPr>
          <p:cNvSpPr txBox="1">
            <a:spLocks/>
          </p:cNvSpPr>
          <p:nvPr/>
        </p:nvSpPr>
        <p:spPr>
          <a:xfrm>
            <a:off x="371476" y="1053382"/>
            <a:ext cx="11579225" cy="5343446"/>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tx1"/>
                </a:solidFill>
                <a:latin typeface="Avenir Book" panose="02000503020000020003" pitchFamily="2" charset="0"/>
              </a:rPr>
              <a:t>In Italy there are seven criteri</a:t>
            </a:r>
            <a:r>
              <a:rPr lang="en-US" sz="1600" dirty="0">
                <a:latin typeface="Avenir Book" panose="02000503020000020003" pitchFamily="2" charset="0"/>
              </a:rPr>
              <a:t>a that are more suitable to describe the current industrialization market from the point of view of integrators (so all those entities dealing with building and renovation projects who are starting to implement offsite technologies). They are:</a:t>
            </a:r>
            <a:endParaRPr lang="en-US" sz="1600" dirty="0">
              <a:solidFill>
                <a:schemeClr val="tx1"/>
              </a:solidFill>
              <a:latin typeface="Avenir Book" panose="02000503020000020003" pitchFamily="2" charset="0"/>
            </a:endParaRPr>
          </a:p>
          <a:p>
            <a:pPr lvl="1"/>
            <a:r>
              <a:rPr lang="en-US" sz="1600" dirty="0">
                <a:solidFill>
                  <a:schemeClr val="tx1"/>
                </a:solidFill>
                <a:latin typeface="Avenir Book" panose="02000503020000020003" pitchFamily="2" charset="0"/>
              </a:rPr>
              <a:t>SCALABILITY POTENTIAL, the capability to industrialize and/or optimize construction processes and </a:t>
            </a:r>
            <a:r>
              <a:rPr lang="en-US" sz="1600" dirty="0">
                <a:latin typeface="Avenir Book" panose="02000503020000020003" pitchFamily="2" charset="0"/>
              </a:rPr>
              <a:t>consequently increase the renovation capacity. It is more appropriate for those integrators that are also panel manufacturers but it fits all. </a:t>
            </a:r>
            <a:endParaRPr lang="en-US" sz="1600" dirty="0">
              <a:solidFill>
                <a:schemeClr val="tx1"/>
              </a:solidFill>
              <a:latin typeface="Avenir Book" panose="02000503020000020003" pitchFamily="2" charset="0"/>
            </a:endParaRPr>
          </a:p>
          <a:p>
            <a:pPr lvl="1"/>
            <a:r>
              <a:rPr lang="en-US" sz="1600" dirty="0">
                <a:solidFill>
                  <a:schemeClr val="tx1"/>
                </a:solidFill>
                <a:latin typeface="Avenir Book" panose="02000503020000020003" pitchFamily="2" charset="0"/>
              </a:rPr>
              <a:t>MAINTENANCE AND PERFORMANCE GUARANTEES, ability to </a:t>
            </a:r>
            <a:r>
              <a:rPr lang="en-US" sz="1600" dirty="0">
                <a:latin typeface="Avenir Book" panose="02000503020000020003" pitchFamily="2" charset="0"/>
              </a:rPr>
              <a:t>monitor and deal with the building </a:t>
            </a:r>
            <a:r>
              <a:rPr lang="en-US" sz="1600" dirty="0">
                <a:solidFill>
                  <a:schemeClr val="tx1"/>
                </a:solidFill>
                <a:latin typeface="Avenir Book" panose="02000503020000020003" pitchFamily="2" charset="0"/>
              </a:rPr>
              <a:t>for an agreed life-cycle period after the end of the works. It characterizes ESCOs and facility managers. </a:t>
            </a:r>
          </a:p>
          <a:p>
            <a:pPr lvl="1"/>
            <a:r>
              <a:rPr lang="en-US" sz="1600" dirty="0">
                <a:solidFill>
                  <a:schemeClr val="tx1"/>
                </a:solidFill>
                <a:latin typeface="Avenir Book" panose="02000503020000020003" pitchFamily="2" charset="0"/>
              </a:rPr>
              <a:t>ONSITE WORK MANAGEMENT, all competences dealing with </a:t>
            </a:r>
            <a:r>
              <a:rPr lang="en-US" sz="1600" dirty="0">
                <a:latin typeface="Avenir Book" panose="02000503020000020003" pitchFamily="2" charset="0"/>
              </a:rPr>
              <a:t>building site activities (installation, safety, lean processes, logistics etc.). It’s typical of skilled and organized construction companies. </a:t>
            </a:r>
            <a:endParaRPr lang="en-US" sz="1600" dirty="0">
              <a:solidFill>
                <a:schemeClr val="tx1"/>
              </a:solidFill>
              <a:latin typeface="Avenir Book" panose="02000503020000020003" pitchFamily="2" charset="0"/>
            </a:endParaRPr>
          </a:p>
          <a:p>
            <a:pPr lvl="1"/>
            <a:r>
              <a:rPr lang="en-US" sz="1600" dirty="0">
                <a:solidFill>
                  <a:schemeClr val="tx1"/>
                </a:solidFill>
                <a:latin typeface="Avenir Book" panose="02000503020000020003" pitchFamily="2" charset="0"/>
              </a:rPr>
              <a:t>PROJECT CONTROL AND INTEGRATION, ability to manage the project dealing with different entities (from suppliers to financers and customers/tenants) and focusing on supply-chain processes’ integration. </a:t>
            </a:r>
          </a:p>
          <a:p>
            <a:pPr lvl="1"/>
            <a:r>
              <a:rPr lang="en-US" sz="1600" dirty="0">
                <a:solidFill>
                  <a:schemeClr val="tx1"/>
                </a:solidFill>
                <a:latin typeface="Avenir Book" panose="02000503020000020003" pitchFamily="2" charset="0"/>
              </a:rPr>
              <a:t>SUSTAINABILITY AND CIRCULARITY, attention to the implementation of sustainable materials and processes for the renovation activities and daily company business. It is transversal to all types of integrators, and it reflects the responsiveness to environmental challenges. </a:t>
            </a:r>
          </a:p>
          <a:p>
            <a:pPr lvl="1"/>
            <a:r>
              <a:rPr lang="en-US" sz="1600" dirty="0">
                <a:solidFill>
                  <a:schemeClr val="tx1"/>
                </a:solidFill>
                <a:latin typeface="Avenir Book" panose="02000503020000020003" pitchFamily="2" charset="0"/>
              </a:rPr>
              <a:t>DIGITALIZATION, </a:t>
            </a:r>
            <a:r>
              <a:rPr lang="en-US" sz="1600" dirty="0">
                <a:latin typeface="Avenir Book" panose="02000503020000020003" pitchFamily="2" charset="0"/>
              </a:rPr>
              <a:t>use of digital technologies to change and innovate the current business model and provide new value-adding opportunities. </a:t>
            </a:r>
            <a:r>
              <a:rPr lang="en-US" sz="1600" dirty="0">
                <a:solidFill>
                  <a:schemeClr val="tx1"/>
                </a:solidFill>
                <a:latin typeface="Avenir Book" panose="02000503020000020003" pitchFamily="2" charset="0"/>
              </a:rPr>
              <a:t>It is transversal to all types of integrators, and it reflects the responsiveness to technological investments. </a:t>
            </a:r>
            <a:endParaRPr lang="en-US" sz="1600" dirty="0">
              <a:latin typeface="Avenir Book" panose="02000503020000020003" pitchFamily="2" charset="0"/>
            </a:endParaRPr>
          </a:p>
          <a:p>
            <a:pPr lvl="1"/>
            <a:r>
              <a:rPr lang="en-US" sz="1600" dirty="0">
                <a:solidFill>
                  <a:schemeClr val="tx1"/>
                </a:solidFill>
                <a:latin typeface="Avenir Book" panose="02000503020000020003" pitchFamily="2" charset="0"/>
              </a:rPr>
              <a:t>AWARENESS AND MOTIVATION, the degree of understanding of future market potential (with respect to industrialized renovation) and the intention to invest in such direction. It is transversal to all types of integrators, and it reflects the responsiveness to change. </a:t>
            </a:r>
          </a:p>
          <a:p>
            <a:pPr marL="285750" indent="-285750">
              <a:buFont typeface="Arial" panose="020B0604020202020204" pitchFamily="34" charset="0"/>
              <a:buChar char="•"/>
            </a:pPr>
            <a:r>
              <a:rPr lang="en-US" sz="1600" dirty="0">
                <a:latin typeface="Avenir Book" panose="02000503020000020003" pitchFamily="2" charset="0"/>
              </a:rPr>
              <a:t>INDUSTRIALIZATION MANAGEMENT</a:t>
            </a:r>
            <a:r>
              <a:rPr lang="en-US" sz="1600" dirty="0">
                <a:solidFill>
                  <a:schemeClr val="tx1"/>
                </a:solidFill>
                <a:latin typeface="Avenir Book" panose="02000503020000020003" pitchFamily="2" charset="0"/>
              </a:rPr>
              <a:t>/PRODUCT MATURITY criteria has not been considered since the whole Italian sector is still at a low level </a:t>
            </a:r>
            <a:r>
              <a:rPr lang="en-US" sz="1600" dirty="0">
                <a:latin typeface="Avenir Book" panose="02000503020000020003" pitchFamily="2" charset="0"/>
              </a:rPr>
              <a:t>of industrialization diffusion and product maturity, with only very few exceptions (not statistically relevant). </a:t>
            </a:r>
            <a:endParaRPr lang="en-US" sz="1600" dirty="0">
              <a:solidFill>
                <a:schemeClr val="tx1"/>
              </a:solidFill>
              <a:latin typeface="Avenir Book" panose="02000503020000020003" pitchFamily="2" charset="0"/>
            </a:endParaRPr>
          </a:p>
          <a:p>
            <a:pPr marL="285750" indent="-285750"/>
            <a:r>
              <a:rPr lang="en-US" sz="1600" dirty="0">
                <a:latin typeface="Avenir Book" panose="02000503020000020003" pitchFamily="2" charset="0"/>
              </a:rPr>
              <a:t>For the same reason, ATTRACTIVENESS/PRODUCT </a:t>
            </a:r>
            <a:r>
              <a:rPr lang="en-US" sz="1600" dirty="0">
                <a:solidFill>
                  <a:schemeClr val="tx1"/>
                </a:solidFill>
                <a:latin typeface="Avenir Book" panose="02000503020000020003" pitchFamily="2" charset="0"/>
              </a:rPr>
              <a:t>APPROACH is not mature yet: technologies are under development and the marketing strategy, in most of cases, has not yet been conceived as products since it’s still project oriented. </a:t>
            </a:r>
            <a:endParaRPr lang="en-US" sz="1600" u="sng" dirty="0">
              <a:solidFill>
                <a:schemeClr val="tx1"/>
              </a:solidFill>
              <a:latin typeface="Avenir Book" panose="02000503020000020003" pitchFamily="2" charset="0"/>
            </a:endParaRPr>
          </a:p>
        </p:txBody>
      </p:sp>
      <p:pic>
        <p:nvPicPr>
          <p:cNvPr id="5" name="Picture 8">
            <a:extLst>
              <a:ext uri="{FF2B5EF4-FFF2-40B4-BE49-F238E27FC236}">
                <a16:creationId xmlns:a16="http://schemas.microsoft.com/office/drawing/2014/main" id="{71527CF6-DD7C-2AF3-831C-E8159F53FE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10937339" y="495347"/>
            <a:ext cx="787278" cy="524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68327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ESFR">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Calibri"/>
        <a:ea typeface="Calibri"/>
        <a:cs typeface="Calibri"/>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ESFR" id="{7B9459DA-92BF-4B9D-831E-D62F3A8C69D7}" vid="{E5B96F9B-9C78-457B-93C1-E5F774C81F63}"/>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BB2C4"/>
        </a:solidFill>
        <a:ln>
          <a:noFill/>
        </a:ln>
      </a:spPr>
      <a:bodyPr lIns="72000" tIns="72000" rIns="72000" bIns="72000" rtlCol="0" anchor="ctr"/>
      <a:lstStyle>
        <a:defPPr algn="ctr">
          <a:defRPr sz="1400" dirty="0" smtClean="0">
            <a:latin typeface="Source Sans Pro" panose="020B0503030403020204" pitchFamily="34" charset="0"/>
            <a:ea typeface="Source Sans Pro" panose="020B05030304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BB2C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sz="1600" dirty="0" smtClean="0">
            <a:latin typeface="Source Sans Pro" panose="020B0503030403020204" pitchFamily="34" charset="0"/>
            <a:ea typeface="Source Sans Pro" panose="020B0503030403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a920bb4-6029-42a9-8dd0-d53511f09859">
      <Terms xmlns="http://schemas.microsoft.com/office/infopath/2007/PartnerControls"/>
    </lcf76f155ced4ddcb4097134ff3c332f>
    <TaxCatchAll xmlns="15ff4398-6064-4900-b5eb-f5ae8c9a30e3" xsi:nil="true"/>
    <SerSan xmlns="aa920bb4-6029-42a9-8dd0-d53511f09859">Wowi;Bau;Politik;PMO</SerSan>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83CC7ECECBCC84499F64AD46C438BE35" ma:contentTypeVersion="17" ma:contentTypeDescription="Ein neues Dokument erstellen." ma:contentTypeScope="" ma:versionID="aa8296e87d1fc98f4d1dd7cc85282a00">
  <xsd:schema xmlns:xsd="http://www.w3.org/2001/XMLSchema" xmlns:xs="http://www.w3.org/2001/XMLSchema" xmlns:p="http://schemas.microsoft.com/office/2006/metadata/properties" xmlns:ns2="15ff4398-6064-4900-b5eb-f5ae8c9a30e3" xmlns:ns3="aa920bb4-6029-42a9-8dd0-d53511f09859" targetNamespace="http://schemas.microsoft.com/office/2006/metadata/properties" ma:root="true" ma:fieldsID="124859145d59337f3c764603ee27c9c5" ns2:_="" ns3:_="">
    <xsd:import namespace="15ff4398-6064-4900-b5eb-f5ae8c9a30e3"/>
    <xsd:import namespace="aa920bb4-6029-42a9-8dd0-d53511f0985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element ref="ns3:MediaServiceDateTaken" minOccurs="0"/>
                <xsd:element ref="ns3:SerSan" minOccurs="0"/>
                <xsd:element ref="ns3:MediaServiceLocation" minOccurs="0"/>
                <xsd:element ref="ns3:MediaLengthInSecond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ff4398-6064-4900-b5eb-f5ae8c9a30e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7144ff9d-3e96-48dd-9dfb-77e7db1d2f56}" ma:internalName="TaxCatchAll" ma:showField="CatchAllData" ma:web="15ff4398-6064-4900-b5eb-f5ae8c9a30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a920bb4-6029-42a9-8dd0-d53511f0985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a7aac90f-4db2-4974-b648-9e17a84d6dba"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SerSan" ma:index="21" nillable="true" ma:displayName="SerSan" ma:default="Wowi;Bau;Politik;PMO" ma:format="Dropdown" ma:internalName="SerSan">
      <xsd:simpleType>
        <xsd:restriction base="dms:Text">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F94501-A1AB-404F-8818-611108792028}">
  <ds:schemaRefs>
    <ds:schemaRef ds:uri="http://schemas.microsoft.com/sharepoint/v3/contenttype/forms"/>
  </ds:schemaRefs>
</ds:datastoreItem>
</file>

<file path=customXml/itemProps2.xml><?xml version="1.0" encoding="utf-8"?>
<ds:datastoreItem xmlns:ds="http://schemas.openxmlformats.org/officeDocument/2006/customXml" ds:itemID="{4157A64B-BB1D-4DED-85B0-94C029CDAAA0}">
  <ds:schemaRefs>
    <ds:schemaRef ds:uri="http://schemas.microsoft.com/office/2006/documentManagement/types"/>
    <ds:schemaRef ds:uri="http://purl.org/dc/elements/1.1/"/>
    <ds:schemaRef ds:uri="e830ed77-70ff-4ca6-9f64-16e299c51759"/>
    <ds:schemaRef ds:uri="http://schemas.microsoft.com/office/2006/metadata/properties"/>
    <ds:schemaRef ds:uri="http://schemas.microsoft.com/office/infopath/2007/PartnerControls"/>
    <ds:schemaRef ds:uri="http://purl.org/dc/terms/"/>
    <ds:schemaRef ds:uri="http://purl.org/dc/dcmitype/"/>
    <ds:schemaRef ds:uri="http://schemas.openxmlformats.org/package/2006/metadata/core-properties"/>
    <ds:schemaRef ds:uri="5e3eb159-c96d-42d9-a13c-0e763125d1e4"/>
    <ds:schemaRef ds:uri="http://www.w3.org/XML/1998/namespace"/>
  </ds:schemaRefs>
</ds:datastoreItem>
</file>

<file path=customXml/itemProps3.xml><?xml version="1.0" encoding="utf-8"?>
<ds:datastoreItem xmlns:ds="http://schemas.openxmlformats.org/officeDocument/2006/customXml" ds:itemID="{C03B1E6C-0FFD-42C0-BAB6-75B55FFDFCE1}"/>
</file>

<file path=docProps/app.xml><?xml version="1.0" encoding="utf-8"?>
<Properties xmlns="http://schemas.openxmlformats.org/officeDocument/2006/extended-properties" xmlns:vt="http://schemas.openxmlformats.org/officeDocument/2006/docPropsVTypes">
  <TotalTime>0</TotalTime>
  <Words>1722</Words>
  <Application>Microsoft Office PowerPoint</Application>
  <PresentationFormat>Grand écran</PresentationFormat>
  <Paragraphs>201</Paragraphs>
  <Slides>6</Slides>
  <Notes>2</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6</vt:i4>
      </vt:variant>
    </vt:vector>
  </HeadingPairs>
  <TitlesOfParts>
    <vt:vector size="18" baseType="lpstr">
      <vt:lpstr>Arial</vt:lpstr>
      <vt:lpstr>Avenir Black</vt:lpstr>
      <vt:lpstr>Avenir Book</vt:lpstr>
      <vt:lpstr>Calibri</vt:lpstr>
      <vt:lpstr>Calibri Light</vt:lpstr>
      <vt:lpstr>Circular Std Black</vt:lpstr>
      <vt:lpstr>Helvetica Light</vt:lpstr>
      <vt:lpstr>Source Sans Pro</vt:lpstr>
      <vt:lpstr>Source Sans Pro Light</vt:lpstr>
      <vt:lpstr>ESFR</vt:lpstr>
      <vt:lpstr>Thème Office</vt:lpstr>
      <vt:lpstr>think-cell Slide</vt:lpstr>
      <vt:lpstr>Présentation PowerPoint</vt:lpstr>
      <vt:lpstr>Vocabulary </vt:lpstr>
      <vt:lpstr>ALL – Retrofit &amp; NewBuild</vt:lpstr>
      <vt:lpstr>ITALY – Retrofit WORKFLOW anD RESPONSIBILITIES  (to MAKE Off-site supply chain work. ACTORS CAN HAVE MORE THAN ONE ROLE) </vt:lpstr>
      <vt:lpstr>Proposal - The final choice of the criteria</vt:lpstr>
      <vt:lpstr>ITALY - Criteria SELE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ne Le Bars</dc:creator>
  <cp:lastModifiedBy>Remi SOULISSE</cp:lastModifiedBy>
  <cp:revision>18</cp:revision>
  <dcterms:created xsi:type="dcterms:W3CDTF">2022-11-15T10:14:54Z</dcterms:created>
  <dcterms:modified xsi:type="dcterms:W3CDTF">2025-06-30T07:4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C7ECECBCC84499F64AD46C438BE35</vt:lpwstr>
  </property>
  <property fmtid="{D5CDD505-2E9C-101B-9397-08002B2CF9AE}" pid="3" name="MediaServiceImageTags">
    <vt:lpwstr/>
  </property>
</Properties>
</file>